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340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FC8D76-BCB2-4BC6-A982-D190D7FB0097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6DDF25-B361-4B2D-B717-BC26EEE532C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83414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01713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162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6823226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1141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313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96339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654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445831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515FBDC-EC27-024C-DDF4-2675D5BEA0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15FBDC-EC27-024C-DDF4-2675D5BEA0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3888110" y="1567356"/>
            <a:ext cx="4415770" cy="4490574"/>
            <a:chOff x="3342265" y="3367081"/>
            <a:chExt cx="7055977" cy="7175501"/>
          </a:xfrm>
          <a:solidFill>
            <a:schemeClr val="bg2"/>
          </a:solidFill>
        </p:grpSpPr>
        <p:sp>
          <p:nvSpPr>
            <p:cNvPr id="12" name="Freeform 18"/>
            <p:cNvSpPr>
              <a:spLocks noChangeArrowheads="1"/>
            </p:cNvSpPr>
            <p:nvPr/>
          </p:nvSpPr>
          <p:spPr bwMode="auto">
            <a:xfrm>
              <a:off x="8299704" y="6091233"/>
              <a:ext cx="1588984" cy="1825625"/>
            </a:xfrm>
            <a:custGeom>
              <a:avLst/>
              <a:gdLst>
                <a:gd name="T0" fmla="*/ 4327 w 4414"/>
                <a:gd name="T1" fmla="*/ 1702 h 5072"/>
                <a:gd name="T2" fmla="*/ 4070 w 4414"/>
                <a:gd name="T3" fmla="*/ 2078 h 5072"/>
                <a:gd name="T4" fmla="*/ 3760 w 4414"/>
                <a:gd name="T5" fmla="*/ 2328 h 5072"/>
                <a:gd name="T6" fmla="*/ 3766 w 4414"/>
                <a:gd name="T7" fmla="*/ 2177 h 5072"/>
                <a:gd name="T8" fmla="*/ 3628 w 4414"/>
                <a:gd name="T9" fmla="*/ 2164 h 5072"/>
                <a:gd name="T10" fmla="*/ 3542 w 4414"/>
                <a:gd name="T11" fmla="*/ 2420 h 5072"/>
                <a:gd name="T12" fmla="*/ 3417 w 4414"/>
                <a:gd name="T13" fmla="*/ 2743 h 5072"/>
                <a:gd name="T14" fmla="*/ 3502 w 4414"/>
                <a:gd name="T15" fmla="*/ 2862 h 5072"/>
                <a:gd name="T16" fmla="*/ 3450 w 4414"/>
                <a:gd name="T17" fmla="*/ 3218 h 5072"/>
                <a:gd name="T18" fmla="*/ 3403 w 4414"/>
                <a:gd name="T19" fmla="*/ 3811 h 5072"/>
                <a:gd name="T20" fmla="*/ 3291 w 4414"/>
                <a:gd name="T21" fmla="*/ 4201 h 5072"/>
                <a:gd name="T22" fmla="*/ 3192 w 4414"/>
                <a:gd name="T23" fmla="*/ 4544 h 5072"/>
                <a:gd name="T24" fmla="*/ 3159 w 4414"/>
                <a:gd name="T25" fmla="*/ 4834 h 5072"/>
                <a:gd name="T26" fmla="*/ 2902 w 4414"/>
                <a:gd name="T27" fmla="*/ 5071 h 5072"/>
                <a:gd name="T28" fmla="*/ 2678 w 4414"/>
                <a:gd name="T29" fmla="*/ 4966 h 5072"/>
                <a:gd name="T30" fmla="*/ 2638 w 4414"/>
                <a:gd name="T31" fmla="*/ 4840 h 5072"/>
                <a:gd name="T32" fmla="*/ 2757 w 4414"/>
                <a:gd name="T33" fmla="*/ 4484 h 5072"/>
                <a:gd name="T34" fmla="*/ 2784 w 4414"/>
                <a:gd name="T35" fmla="*/ 3798 h 5072"/>
                <a:gd name="T36" fmla="*/ 2454 w 4414"/>
                <a:gd name="T37" fmla="*/ 3666 h 5072"/>
                <a:gd name="T38" fmla="*/ 2282 w 4414"/>
                <a:gd name="T39" fmla="*/ 3580 h 5072"/>
                <a:gd name="T40" fmla="*/ 1913 w 4414"/>
                <a:gd name="T41" fmla="*/ 3343 h 5072"/>
                <a:gd name="T42" fmla="*/ 1741 w 4414"/>
                <a:gd name="T43" fmla="*/ 3191 h 5072"/>
                <a:gd name="T44" fmla="*/ 1280 w 4414"/>
                <a:gd name="T45" fmla="*/ 3033 h 5072"/>
                <a:gd name="T46" fmla="*/ 1134 w 4414"/>
                <a:gd name="T47" fmla="*/ 2835 h 5072"/>
                <a:gd name="T48" fmla="*/ 1049 w 4414"/>
                <a:gd name="T49" fmla="*/ 2717 h 5072"/>
                <a:gd name="T50" fmla="*/ 825 w 4414"/>
                <a:gd name="T51" fmla="*/ 2736 h 5072"/>
                <a:gd name="T52" fmla="*/ 482 w 4414"/>
                <a:gd name="T53" fmla="*/ 2947 h 5072"/>
                <a:gd name="T54" fmla="*/ 0 w 4414"/>
                <a:gd name="T55" fmla="*/ 2974 h 5072"/>
                <a:gd name="T56" fmla="*/ 7 w 4414"/>
                <a:gd name="T57" fmla="*/ 2453 h 5072"/>
                <a:gd name="T58" fmla="*/ 73 w 4414"/>
                <a:gd name="T59" fmla="*/ 2038 h 5072"/>
                <a:gd name="T60" fmla="*/ 99 w 4414"/>
                <a:gd name="T61" fmla="*/ 1840 h 5072"/>
                <a:gd name="T62" fmla="*/ 132 w 4414"/>
                <a:gd name="T63" fmla="*/ 1451 h 5072"/>
                <a:gd name="T64" fmla="*/ 86 w 4414"/>
                <a:gd name="T65" fmla="*/ 1194 h 5072"/>
                <a:gd name="T66" fmla="*/ 198 w 4414"/>
                <a:gd name="T67" fmla="*/ 877 h 5072"/>
                <a:gd name="T68" fmla="*/ 383 w 4414"/>
                <a:gd name="T69" fmla="*/ 594 h 5072"/>
                <a:gd name="T70" fmla="*/ 455 w 4414"/>
                <a:gd name="T71" fmla="*/ 620 h 5072"/>
                <a:gd name="T72" fmla="*/ 983 w 4414"/>
                <a:gd name="T73" fmla="*/ 818 h 5072"/>
                <a:gd name="T74" fmla="*/ 1372 w 4414"/>
                <a:gd name="T75" fmla="*/ 462 h 5072"/>
                <a:gd name="T76" fmla="*/ 1365 w 4414"/>
                <a:gd name="T77" fmla="*/ 198 h 5072"/>
                <a:gd name="T78" fmla="*/ 1695 w 4414"/>
                <a:gd name="T79" fmla="*/ 264 h 5072"/>
                <a:gd name="T80" fmla="*/ 2137 w 4414"/>
                <a:gd name="T81" fmla="*/ 264 h 5072"/>
                <a:gd name="T82" fmla="*/ 2467 w 4414"/>
                <a:gd name="T83" fmla="*/ 145 h 5072"/>
                <a:gd name="T84" fmla="*/ 2638 w 4414"/>
                <a:gd name="T85" fmla="*/ 0 h 5072"/>
                <a:gd name="T86" fmla="*/ 2790 w 4414"/>
                <a:gd name="T87" fmla="*/ 244 h 5072"/>
                <a:gd name="T88" fmla="*/ 2962 w 4414"/>
                <a:gd name="T89" fmla="*/ 429 h 5072"/>
                <a:gd name="T90" fmla="*/ 3153 w 4414"/>
                <a:gd name="T91" fmla="*/ 310 h 5072"/>
                <a:gd name="T92" fmla="*/ 3529 w 4414"/>
                <a:gd name="T93" fmla="*/ 46 h 5072"/>
                <a:gd name="T94" fmla="*/ 4096 w 4414"/>
                <a:gd name="T95" fmla="*/ 370 h 5072"/>
                <a:gd name="T96" fmla="*/ 4182 w 4414"/>
                <a:gd name="T97" fmla="*/ 581 h 5072"/>
                <a:gd name="T98" fmla="*/ 4261 w 4414"/>
                <a:gd name="T99" fmla="*/ 930 h 5072"/>
                <a:gd name="T100" fmla="*/ 4096 w 4414"/>
                <a:gd name="T101" fmla="*/ 1451 h 5072"/>
                <a:gd name="T102" fmla="*/ 4261 w 4414"/>
                <a:gd name="T103" fmla="*/ 1596 h 5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414" h="5072">
                  <a:moveTo>
                    <a:pt x="4413" y="1603"/>
                  </a:moveTo>
                  <a:lnTo>
                    <a:pt x="4413" y="1603"/>
                  </a:lnTo>
                  <a:cubicBezTo>
                    <a:pt x="4386" y="1629"/>
                    <a:pt x="4360" y="1662"/>
                    <a:pt x="4327" y="1702"/>
                  </a:cubicBezTo>
                  <a:cubicBezTo>
                    <a:pt x="4274" y="1774"/>
                    <a:pt x="4287" y="1840"/>
                    <a:pt x="4248" y="1926"/>
                  </a:cubicBezTo>
                  <a:cubicBezTo>
                    <a:pt x="4221" y="1972"/>
                    <a:pt x="4175" y="1972"/>
                    <a:pt x="4142" y="2012"/>
                  </a:cubicBezTo>
                  <a:cubicBezTo>
                    <a:pt x="4123" y="2045"/>
                    <a:pt x="4096" y="2051"/>
                    <a:pt x="4070" y="2078"/>
                  </a:cubicBezTo>
                  <a:cubicBezTo>
                    <a:pt x="4024" y="2124"/>
                    <a:pt x="3991" y="2144"/>
                    <a:pt x="3944" y="2190"/>
                  </a:cubicBezTo>
                  <a:cubicBezTo>
                    <a:pt x="3905" y="2229"/>
                    <a:pt x="3878" y="2243"/>
                    <a:pt x="3832" y="2282"/>
                  </a:cubicBezTo>
                  <a:cubicBezTo>
                    <a:pt x="3806" y="2302"/>
                    <a:pt x="3793" y="2328"/>
                    <a:pt x="3760" y="2328"/>
                  </a:cubicBezTo>
                  <a:cubicBezTo>
                    <a:pt x="3753" y="2328"/>
                    <a:pt x="3746" y="2328"/>
                    <a:pt x="3733" y="2328"/>
                  </a:cubicBezTo>
                  <a:cubicBezTo>
                    <a:pt x="3740" y="2295"/>
                    <a:pt x="3766" y="2282"/>
                    <a:pt x="3766" y="2243"/>
                  </a:cubicBezTo>
                  <a:cubicBezTo>
                    <a:pt x="3766" y="2216"/>
                    <a:pt x="3766" y="2203"/>
                    <a:pt x="3766" y="2177"/>
                  </a:cubicBezTo>
                  <a:cubicBezTo>
                    <a:pt x="3760" y="2170"/>
                    <a:pt x="3753" y="2157"/>
                    <a:pt x="3740" y="2157"/>
                  </a:cubicBezTo>
                  <a:cubicBezTo>
                    <a:pt x="3733" y="2157"/>
                    <a:pt x="3733" y="2164"/>
                    <a:pt x="3727" y="2164"/>
                  </a:cubicBezTo>
                  <a:cubicBezTo>
                    <a:pt x="3687" y="2164"/>
                    <a:pt x="3667" y="2164"/>
                    <a:pt x="3628" y="2164"/>
                  </a:cubicBezTo>
                  <a:cubicBezTo>
                    <a:pt x="3615" y="2164"/>
                    <a:pt x="3601" y="2170"/>
                    <a:pt x="3582" y="2177"/>
                  </a:cubicBezTo>
                  <a:cubicBezTo>
                    <a:pt x="3615" y="2223"/>
                    <a:pt x="3661" y="2243"/>
                    <a:pt x="3661" y="2302"/>
                  </a:cubicBezTo>
                  <a:cubicBezTo>
                    <a:pt x="3661" y="2368"/>
                    <a:pt x="3569" y="2361"/>
                    <a:pt x="3542" y="2420"/>
                  </a:cubicBezTo>
                  <a:cubicBezTo>
                    <a:pt x="3516" y="2472"/>
                    <a:pt x="3509" y="2506"/>
                    <a:pt x="3509" y="2565"/>
                  </a:cubicBezTo>
                  <a:cubicBezTo>
                    <a:pt x="3509" y="2585"/>
                    <a:pt x="3509" y="2598"/>
                    <a:pt x="3509" y="2618"/>
                  </a:cubicBezTo>
                  <a:cubicBezTo>
                    <a:pt x="3509" y="2677"/>
                    <a:pt x="3437" y="2690"/>
                    <a:pt x="3417" y="2743"/>
                  </a:cubicBezTo>
                  <a:cubicBezTo>
                    <a:pt x="3397" y="2802"/>
                    <a:pt x="3403" y="2835"/>
                    <a:pt x="3397" y="2895"/>
                  </a:cubicBezTo>
                  <a:cubicBezTo>
                    <a:pt x="3423" y="2901"/>
                    <a:pt x="3423" y="2901"/>
                    <a:pt x="3423" y="2901"/>
                  </a:cubicBezTo>
                  <a:cubicBezTo>
                    <a:pt x="3450" y="2888"/>
                    <a:pt x="3470" y="2875"/>
                    <a:pt x="3502" y="2862"/>
                  </a:cubicBezTo>
                  <a:cubicBezTo>
                    <a:pt x="3463" y="2934"/>
                    <a:pt x="3450" y="2987"/>
                    <a:pt x="3450" y="3066"/>
                  </a:cubicBezTo>
                  <a:cubicBezTo>
                    <a:pt x="3450" y="3125"/>
                    <a:pt x="3450" y="3158"/>
                    <a:pt x="3450" y="3218"/>
                  </a:cubicBezTo>
                  <a:lnTo>
                    <a:pt x="3450" y="3218"/>
                  </a:lnTo>
                  <a:cubicBezTo>
                    <a:pt x="3403" y="3587"/>
                    <a:pt x="3403" y="3587"/>
                    <a:pt x="3403" y="3587"/>
                  </a:cubicBezTo>
                  <a:lnTo>
                    <a:pt x="3403" y="3587"/>
                  </a:lnTo>
                  <a:cubicBezTo>
                    <a:pt x="3403" y="3673"/>
                    <a:pt x="3403" y="3719"/>
                    <a:pt x="3403" y="3811"/>
                  </a:cubicBezTo>
                  <a:cubicBezTo>
                    <a:pt x="3403" y="3831"/>
                    <a:pt x="3384" y="3844"/>
                    <a:pt x="3377" y="3864"/>
                  </a:cubicBezTo>
                  <a:cubicBezTo>
                    <a:pt x="3364" y="3897"/>
                    <a:pt x="3357" y="3923"/>
                    <a:pt x="3351" y="3957"/>
                  </a:cubicBezTo>
                  <a:cubicBezTo>
                    <a:pt x="3318" y="4049"/>
                    <a:pt x="3324" y="4108"/>
                    <a:pt x="3291" y="4201"/>
                  </a:cubicBezTo>
                  <a:cubicBezTo>
                    <a:pt x="3252" y="4286"/>
                    <a:pt x="3232" y="4339"/>
                    <a:pt x="3212" y="4438"/>
                  </a:cubicBezTo>
                  <a:cubicBezTo>
                    <a:pt x="3206" y="4464"/>
                    <a:pt x="3199" y="4477"/>
                    <a:pt x="3199" y="4504"/>
                  </a:cubicBezTo>
                  <a:cubicBezTo>
                    <a:pt x="3199" y="4517"/>
                    <a:pt x="3192" y="4530"/>
                    <a:pt x="3192" y="4544"/>
                  </a:cubicBezTo>
                  <a:cubicBezTo>
                    <a:pt x="3192" y="4570"/>
                    <a:pt x="3192" y="4583"/>
                    <a:pt x="3192" y="4609"/>
                  </a:cubicBezTo>
                  <a:cubicBezTo>
                    <a:pt x="3192" y="4662"/>
                    <a:pt x="3186" y="4689"/>
                    <a:pt x="3179" y="4741"/>
                  </a:cubicBezTo>
                  <a:cubicBezTo>
                    <a:pt x="3179" y="4781"/>
                    <a:pt x="3186" y="4807"/>
                    <a:pt x="3159" y="4834"/>
                  </a:cubicBezTo>
                  <a:cubicBezTo>
                    <a:pt x="3153" y="4847"/>
                    <a:pt x="3140" y="4847"/>
                    <a:pt x="3133" y="4847"/>
                  </a:cubicBezTo>
                  <a:cubicBezTo>
                    <a:pt x="3113" y="4860"/>
                    <a:pt x="3107" y="4873"/>
                    <a:pt x="3087" y="4886"/>
                  </a:cubicBezTo>
                  <a:cubicBezTo>
                    <a:pt x="2995" y="4933"/>
                    <a:pt x="2929" y="4985"/>
                    <a:pt x="2902" y="5071"/>
                  </a:cubicBezTo>
                  <a:lnTo>
                    <a:pt x="2902" y="5071"/>
                  </a:lnTo>
                  <a:cubicBezTo>
                    <a:pt x="2830" y="5045"/>
                    <a:pt x="2790" y="5005"/>
                    <a:pt x="2718" y="4979"/>
                  </a:cubicBezTo>
                  <a:cubicBezTo>
                    <a:pt x="2704" y="4972"/>
                    <a:pt x="2685" y="4972"/>
                    <a:pt x="2678" y="4966"/>
                  </a:cubicBezTo>
                  <a:cubicBezTo>
                    <a:pt x="2638" y="4939"/>
                    <a:pt x="2645" y="4900"/>
                    <a:pt x="2645" y="4860"/>
                  </a:cubicBezTo>
                  <a:lnTo>
                    <a:pt x="2645" y="4860"/>
                  </a:lnTo>
                  <a:cubicBezTo>
                    <a:pt x="2645" y="4847"/>
                    <a:pt x="2638" y="4854"/>
                    <a:pt x="2638" y="4840"/>
                  </a:cubicBezTo>
                  <a:cubicBezTo>
                    <a:pt x="2638" y="4768"/>
                    <a:pt x="2711" y="4735"/>
                    <a:pt x="2711" y="4656"/>
                  </a:cubicBezTo>
                  <a:cubicBezTo>
                    <a:pt x="2711" y="4629"/>
                    <a:pt x="2698" y="4616"/>
                    <a:pt x="2698" y="4596"/>
                  </a:cubicBezTo>
                  <a:cubicBezTo>
                    <a:pt x="2698" y="4544"/>
                    <a:pt x="2744" y="4530"/>
                    <a:pt x="2757" y="4484"/>
                  </a:cubicBezTo>
                  <a:cubicBezTo>
                    <a:pt x="2790" y="4385"/>
                    <a:pt x="2784" y="4326"/>
                    <a:pt x="2823" y="4233"/>
                  </a:cubicBezTo>
                  <a:cubicBezTo>
                    <a:pt x="2863" y="4141"/>
                    <a:pt x="2922" y="4095"/>
                    <a:pt x="2922" y="3996"/>
                  </a:cubicBezTo>
                  <a:cubicBezTo>
                    <a:pt x="2922" y="3904"/>
                    <a:pt x="2843" y="3871"/>
                    <a:pt x="2784" y="3798"/>
                  </a:cubicBezTo>
                  <a:cubicBezTo>
                    <a:pt x="2751" y="3765"/>
                    <a:pt x="2737" y="3726"/>
                    <a:pt x="2685" y="3719"/>
                  </a:cubicBezTo>
                  <a:cubicBezTo>
                    <a:pt x="2632" y="3706"/>
                    <a:pt x="2599" y="3726"/>
                    <a:pt x="2546" y="3699"/>
                  </a:cubicBezTo>
                  <a:cubicBezTo>
                    <a:pt x="2513" y="3686"/>
                    <a:pt x="2493" y="3666"/>
                    <a:pt x="2454" y="3666"/>
                  </a:cubicBezTo>
                  <a:cubicBezTo>
                    <a:pt x="2408" y="3666"/>
                    <a:pt x="2388" y="3693"/>
                    <a:pt x="2342" y="3693"/>
                  </a:cubicBezTo>
                  <a:cubicBezTo>
                    <a:pt x="2329" y="3693"/>
                    <a:pt x="2329" y="3673"/>
                    <a:pt x="2322" y="3653"/>
                  </a:cubicBezTo>
                  <a:cubicBezTo>
                    <a:pt x="2315" y="3620"/>
                    <a:pt x="2302" y="3607"/>
                    <a:pt x="2282" y="3580"/>
                  </a:cubicBezTo>
                  <a:cubicBezTo>
                    <a:pt x="2249" y="3528"/>
                    <a:pt x="2230" y="3488"/>
                    <a:pt x="2183" y="3442"/>
                  </a:cubicBezTo>
                  <a:cubicBezTo>
                    <a:pt x="2137" y="3389"/>
                    <a:pt x="2078" y="3409"/>
                    <a:pt x="2012" y="3383"/>
                  </a:cubicBezTo>
                  <a:cubicBezTo>
                    <a:pt x="1972" y="3369"/>
                    <a:pt x="1952" y="3356"/>
                    <a:pt x="1913" y="3343"/>
                  </a:cubicBezTo>
                  <a:cubicBezTo>
                    <a:pt x="1887" y="3330"/>
                    <a:pt x="1867" y="3310"/>
                    <a:pt x="1840" y="3304"/>
                  </a:cubicBezTo>
                  <a:cubicBezTo>
                    <a:pt x="1820" y="3290"/>
                    <a:pt x="1801" y="3290"/>
                    <a:pt x="1788" y="3271"/>
                  </a:cubicBezTo>
                  <a:cubicBezTo>
                    <a:pt x="1768" y="3244"/>
                    <a:pt x="1768" y="3218"/>
                    <a:pt x="1741" y="3191"/>
                  </a:cubicBezTo>
                  <a:cubicBezTo>
                    <a:pt x="1662" y="3112"/>
                    <a:pt x="1603" y="3086"/>
                    <a:pt x="1511" y="3046"/>
                  </a:cubicBezTo>
                  <a:cubicBezTo>
                    <a:pt x="1471" y="3026"/>
                    <a:pt x="1458" y="2987"/>
                    <a:pt x="1418" y="2987"/>
                  </a:cubicBezTo>
                  <a:cubicBezTo>
                    <a:pt x="1359" y="2987"/>
                    <a:pt x="1332" y="3033"/>
                    <a:pt x="1280" y="3033"/>
                  </a:cubicBezTo>
                  <a:cubicBezTo>
                    <a:pt x="1240" y="3033"/>
                    <a:pt x="1227" y="2993"/>
                    <a:pt x="1187" y="2974"/>
                  </a:cubicBezTo>
                  <a:cubicBezTo>
                    <a:pt x="1161" y="2954"/>
                    <a:pt x="1115" y="2954"/>
                    <a:pt x="1115" y="2921"/>
                  </a:cubicBezTo>
                  <a:cubicBezTo>
                    <a:pt x="1115" y="2888"/>
                    <a:pt x="1121" y="2862"/>
                    <a:pt x="1134" y="2835"/>
                  </a:cubicBezTo>
                  <a:cubicBezTo>
                    <a:pt x="1141" y="2809"/>
                    <a:pt x="1161" y="2802"/>
                    <a:pt x="1161" y="2776"/>
                  </a:cubicBezTo>
                  <a:cubicBezTo>
                    <a:pt x="1161" y="2750"/>
                    <a:pt x="1128" y="2750"/>
                    <a:pt x="1102" y="2743"/>
                  </a:cubicBezTo>
                  <a:cubicBezTo>
                    <a:pt x="1082" y="2736"/>
                    <a:pt x="1069" y="2717"/>
                    <a:pt x="1049" y="2717"/>
                  </a:cubicBezTo>
                  <a:cubicBezTo>
                    <a:pt x="1016" y="2717"/>
                    <a:pt x="996" y="2717"/>
                    <a:pt x="963" y="2717"/>
                  </a:cubicBezTo>
                  <a:cubicBezTo>
                    <a:pt x="937" y="2717"/>
                    <a:pt x="923" y="2736"/>
                    <a:pt x="890" y="2736"/>
                  </a:cubicBezTo>
                  <a:cubicBezTo>
                    <a:pt x="864" y="2736"/>
                    <a:pt x="851" y="2736"/>
                    <a:pt x="825" y="2736"/>
                  </a:cubicBezTo>
                  <a:cubicBezTo>
                    <a:pt x="798" y="2736"/>
                    <a:pt x="785" y="2756"/>
                    <a:pt x="759" y="2776"/>
                  </a:cubicBezTo>
                  <a:cubicBezTo>
                    <a:pt x="719" y="2802"/>
                    <a:pt x="699" y="2822"/>
                    <a:pt x="666" y="2849"/>
                  </a:cubicBezTo>
                  <a:cubicBezTo>
                    <a:pt x="600" y="2908"/>
                    <a:pt x="554" y="2914"/>
                    <a:pt x="482" y="2947"/>
                  </a:cubicBezTo>
                  <a:cubicBezTo>
                    <a:pt x="363" y="2993"/>
                    <a:pt x="310" y="3060"/>
                    <a:pt x="191" y="3086"/>
                  </a:cubicBezTo>
                  <a:cubicBezTo>
                    <a:pt x="158" y="3092"/>
                    <a:pt x="145" y="3119"/>
                    <a:pt x="112" y="3119"/>
                  </a:cubicBezTo>
                  <a:cubicBezTo>
                    <a:pt x="40" y="3119"/>
                    <a:pt x="26" y="3046"/>
                    <a:pt x="0" y="2974"/>
                  </a:cubicBezTo>
                  <a:lnTo>
                    <a:pt x="0" y="2974"/>
                  </a:lnTo>
                  <a:cubicBezTo>
                    <a:pt x="40" y="2868"/>
                    <a:pt x="73" y="2809"/>
                    <a:pt x="73" y="2697"/>
                  </a:cubicBezTo>
                  <a:cubicBezTo>
                    <a:pt x="73" y="2598"/>
                    <a:pt x="7" y="2552"/>
                    <a:pt x="7" y="2453"/>
                  </a:cubicBezTo>
                  <a:cubicBezTo>
                    <a:pt x="7" y="2394"/>
                    <a:pt x="7" y="2361"/>
                    <a:pt x="7" y="2302"/>
                  </a:cubicBezTo>
                  <a:cubicBezTo>
                    <a:pt x="7" y="2229"/>
                    <a:pt x="73" y="2196"/>
                    <a:pt x="73" y="2124"/>
                  </a:cubicBezTo>
                  <a:cubicBezTo>
                    <a:pt x="73" y="2091"/>
                    <a:pt x="73" y="2071"/>
                    <a:pt x="73" y="2038"/>
                  </a:cubicBezTo>
                  <a:cubicBezTo>
                    <a:pt x="73" y="1999"/>
                    <a:pt x="112" y="1979"/>
                    <a:pt x="112" y="1939"/>
                  </a:cubicBezTo>
                  <a:lnTo>
                    <a:pt x="112" y="1939"/>
                  </a:lnTo>
                  <a:cubicBezTo>
                    <a:pt x="99" y="1906"/>
                    <a:pt x="99" y="1880"/>
                    <a:pt x="99" y="1840"/>
                  </a:cubicBezTo>
                  <a:cubicBezTo>
                    <a:pt x="99" y="1774"/>
                    <a:pt x="112" y="1735"/>
                    <a:pt x="112" y="1669"/>
                  </a:cubicBezTo>
                  <a:cubicBezTo>
                    <a:pt x="112" y="1616"/>
                    <a:pt x="86" y="1596"/>
                    <a:pt x="86" y="1543"/>
                  </a:cubicBezTo>
                  <a:cubicBezTo>
                    <a:pt x="86" y="1504"/>
                    <a:pt x="132" y="1491"/>
                    <a:pt x="132" y="1451"/>
                  </a:cubicBezTo>
                  <a:cubicBezTo>
                    <a:pt x="132" y="1412"/>
                    <a:pt x="92" y="1398"/>
                    <a:pt x="92" y="1359"/>
                  </a:cubicBezTo>
                  <a:cubicBezTo>
                    <a:pt x="92" y="1313"/>
                    <a:pt x="145" y="1299"/>
                    <a:pt x="145" y="1253"/>
                  </a:cubicBezTo>
                  <a:cubicBezTo>
                    <a:pt x="145" y="1220"/>
                    <a:pt x="86" y="1227"/>
                    <a:pt x="86" y="1194"/>
                  </a:cubicBezTo>
                  <a:cubicBezTo>
                    <a:pt x="86" y="1148"/>
                    <a:pt x="112" y="1128"/>
                    <a:pt x="125" y="1088"/>
                  </a:cubicBezTo>
                  <a:cubicBezTo>
                    <a:pt x="145" y="1042"/>
                    <a:pt x="139" y="1016"/>
                    <a:pt x="152" y="970"/>
                  </a:cubicBezTo>
                  <a:cubicBezTo>
                    <a:pt x="165" y="937"/>
                    <a:pt x="185" y="917"/>
                    <a:pt x="198" y="877"/>
                  </a:cubicBezTo>
                  <a:cubicBezTo>
                    <a:pt x="218" y="818"/>
                    <a:pt x="218" y="785"/>
                    <a:pt x="244" y="726"/>
                  </a:cubicBezTo>
                  <a:cubicBezTo>
                    <a:pt x="257" y="686"/>
                    <a:pt x="277" y="660"/>
                    <a:pt x="317" y="640"/>
                  </a:cubicBezTo>
                  <a:cubicBezTo>
                    <a:pt x="343" y="620"/>
                    <a:pt x="383" y="627"/>
                    <a:pt x="383" y="594"/>
                  </a:cubicBezTo>
                  <a:cubicBezTo>
                    <a:pt x="383" y="567"/>
                    <a:pt x="356" y="561"/>
                    <a:pt x="356" y="534"/>
                  </a:cubicBezTo>
                  <a:lnTo>
                    <a:pt x="356" y="534"/>
                  </a:lnTo>
                  <a:cubicBezTo>
                    <a:pt x="396" y="561"/>
                    <a:pt x="416" y="594"/>
                    <a:pt x="455" y="620"/>
                  </a:cubicBezTo>
                  <a:cubicBezTo>
                    <a:pt x="521" y="660"/>
                    <a:pt x="567" y="660"/>
                    <a:pt x="633" y="679"/>
                  </a:cubicBezTo>
                  <a:cubicBezTo>
                    <a:pt x="745" y="719"/>
                    <a:pt x="765" y="851"/>
                    <a:pt x="884" y="851"/>
                  </a:cubicBezTo>
                  <a:cubicBezTo>
                    <a:pt x="923" y="851"/>
                    <a:pt x="943" y="831"/>
                    <a:pt x="983" y="818"/>
                  </a:cubicBezTo>
                  <a:cubicBezTo>
                    <a:pt x="1049" y="792"/>
                    <a:pt x="1082" y="785"/>
                    <a:pt x="1148" y="752"/>
                  </a:cubicBezTo>
                  <a:cubicBezTo>
                    <a:pt x="1181" y="739"/>
                    <a:pt x="1194" y="713"/>
                    <a:pt x="1227" y="693"/>
                  </a:cubicBezTo>
                  <a:cubicBezTo>
                    <a:pt x="1313" y="627"/>
                    <a:pt x="1372" y="567"/>
                    <a:pt x="1372" y="462"/>
                  </a:cubicBezTo>
                  <a:cubicBezTo>
                    <a:pt x="1372" y="383"/>
                    <a:pt x="1293" y="356"/>
                    <a:pt x="1293" y="277"/>
                  </a:cubicBezTo>
                  <a:cubicBezTo>
                    <a:pt x="1293" y="251"/>
                    <a:pt x="1286" y="224"/>
                    <a:pt x="1306" y="205"/>
                  </a:cubicBezTo>
                  <a:cubicBezTo>
                    <a:pt x="1326" y="191"/>
                    <a:pt x="1346" y="198"/>
                    <a:pt x="1365" y="198"/>
                  </a:cubicBezTo>
                  <a:cubicBezTo>
                    <a:pt x="1425" y="178"/>
                    <a:pt x="1458" y="158"/>
                    <a:pt x="1524" y="158"/>
                  </a:cubicBezTo>
                  <a:cubicBezTo>
                    <a:pt x="1557" y="158"/>
                    <a:pt x="1570" y="198"/>
                    <a:pt x="1596" y="218"/>
                  </a:cubicBezTo>
                  <a:cubicBezTo>
                    <a:pt x="1629" y="244"/>
                    <a:pt x="1656" y="244"/>
                    <a:pt x="1695" y="264"/>
                  </a:cubicBezTo>
                  <a:cubicBezTo>
                    <a:pt x="1761" y="290"/>
                    <a:pt x="1801" y="303"/>
                    <a:pt x="1867" y="303"/>
                  </a:cubicBezTo>
                  <a:cubicBezTo>
                    <a:pt x="1913" y="303"/>
                    <a:pt x="1926" y="264"/>
                    <a:pt x="1972" y="264"/>
                  </a:cubicBezTo>
                  <a:cubicBezTo>
                    <a:pt x="2038" y="264"/>
                    <a:pt x="2071" y="264"/>
                    <a:pt x="2137" y="264"/>
                  </a:cubicBezTo>
                  <a:cubicBezTo>
                    <a:pt x="2197" y="264"/>
                    <a:pt x="2216" y="211"/>
                    <a:pt x="2249" y="165"/>
                  </a:cubicBezTo>
                  <a:cubicBezTo>
                    <a:pt x="2295" y="165"/>
                    <a:pt x="2322" y="165"/>
                    <a:pt x="2368" y="165"/>
                  </a:cubicBezTo>
                  <a:cubicBezTo>
                    <a:pt x="2408" y="165"/>
                    <a:pt x="2434" y="172"/>
                    <a:pt x="2467" y="145"/>
                  </a:cubicBezTo>
                  <a:cubicBezTo>
                    <a:pt x="2500" y="125"/>
                    <a:pt x="2500" y="86"/>
                    <a:pt x="2526" y="60"/>
                  </a:cubicBezTo>
                  <a:cubicBezTo>
                    <a:pt x="2559" y="27"/>
                    <a:pt x="2592" y="20"/>
                    <a:pt x="2638" y="0"/>
                  </a:cubicBezTo>
                  <a:lnTo>
                    <a:pt x="2638" y="0"/>
                  </a:lnTo>
                  <a:cubicBezTo>
                    <a:pt x="2685" y="46"/>
                    <a:pt x="2724" y="53"/>
                    <a:pt x="2770" y="92"/>
                  </a:cubicBezTo>
                  <a:cubicBezTo>
                    <a:pt x="2803" y="119"/>
                    <a:pt x="2810" y="158"/>
                    <a:pt x="2810" y="205"/>
                  </a:cubicBezTo>
                  <a:cubicBezTo>
                    <a:pt x="2810" y="224"/>
                    <a:pt x="2797" y="231"/>
                    <a:pt x="2790" y="244"/>
                  </a:cubicBezTo>
                  <a:cubicBezTo>
                    <a:pt x="2830" y="271"/>
                    <a:pt x="2843" y="317"/>
                    <a:pt x="2856" y="356"/>
                  </a:cubicBezTo>
                  <a:cubicBezTo>
                    <a:pt x="2863" y="376"/>
                    <a:pt x="2883" y="396"/>
                    <a:pt x="2889" y="409"/>
                  </a:cubicBezTo>
                  <a:cubicBezTo>
                    <a:pt x="2915" y="422"/>
                    <a:pt x="2935" y="429"/>
                    <a:pt x="2962" y="429"/>
                  </a:cubicBezTo>
                  <a:cubicBezTo>
                    <a:pt x="3028" y="429"/>
                    <a:pt x="3041" y="350"/>
                    <a:pt x="3041" y="284"/>
                  </a:cubicBezTo>
                  <a:cubicBezTo>
                    <a:pt x="3047" y="284"/>
                    <a:pt x="3054" y="277"/>
                    <a:pt x="3061" y="271"/>
                  </a:cubicBezTo>
                  <a:cubicBezTo>
                    <a:pt x="3087" y="297"/>
                    <a:pt x="3113" y="310"/>
                    <a:pt x="3153" y="310"/>
                  </a:cubicBezTo>
                  <a:cubicBezTo>
                    <a:pt x="3199" y="310"/>
                    <a:pt x="3219" y="277"/>
                    <a:pt x="3252" y="244"/>
                  </a:cubicBezTo>
                  <a:cubicBezTo>
                    <a:pt x="3298" y="205"/>
                    <a:pt x="3331" y="185"/>
                    <a:pt x="3371" y="139"/>
                  </a:cubicBezTo>
                  <a:cubicBezTo>
                    <a:pt x="3423" y="92"/>
                    <a:pt x="3456" y="46"/>
                    <a:pt x="3529" y="46"/>
                  </a:cubicBezTo>
                  <a:cubicBezTo>
                    <a:pt x="3569" y="46"/>
                    <a:pt x="3588" y="60"/>
                    <a:pt x="3621" y="79"/>
                  </a:cubicBezTo>
                  <a:cubicBezTo>
                    <a:pt x="3687" y="119"/>
                    <a:pt x="3733" y="119"/>
                    <a:pt x="3813" y="139"/>
                  </a:cubicBezTo>
                  <a:cubicBezTo>
                    <a:pt x="4096" y="370"/>
                    <a:pt x="4096" y="370"/>
                    <a:pt x="4096" y="370"/>
                  </a:cubicBezTo>
                  <a:lnTo>
                    <a:pt x="4096" y="370"/>
                  </a:lnTo>
                  <a:cubicBezTo>
                    <a:pt x="4096" y="389"/>
                    <a:pt x="4089" y="409"/>
                    <a:pt x="4089" y="429"/>
                  </a:cubicBezTo>
                  <a:cubicBezTo>
                    <a:pt x="4089" y="501"/>
                    <a:pt x="4123" y="547"/>
                    <a:pt x="4182" y="581"/>
                  </a:cubicBezTo>
                  <a:lnTo>
                    <a:pt x="4182" y="581"/>
                  </a:lnTo>
                  <a:cubicBezTo>
                    <a:pt x="4182" y="660"/>
                    <a:pt x="4188" y="706"/>
                    <a:pt x="4208" y="785"/>
                  </a:cubicBezTo>
                  <a:cubicBezTo>
                    <a:pt x="4221" y="844"/>
                    <a:pt x="4255" y="871"/>
                    <a:pt x="4261" y="930"/>
                  </a:cubicBezTo>
                  <a:cubicBezTo>
                    <a:pt x="4228" y="1154"/>
                    <a:pt x="4228" y="1154"/>
                    <a:pt x="4228" y="1154"/>
                  </a:cubicBezTo>
                  <a:cubicBezTo>
                    <a:pt x="4142" y="1168"/>
                    <a:pt x="4037" y="1181"/>
                    <a:pt x="4037" y="1273"/>
                  </a:cubicBezTo>
                  <a:cubicBezTo>
                    <a:pt x="4037" y="1345"/>
                    <a:pt x="4096" y="1379"/>
                    <a:pt x="4096" y="1451"/>
                  </a:cubicBezTo>
                  <a:cubicBezTo>
                    <a:pt x="4103" y="1504"/>
                    <a:pt x="4109" y="1530"/>
                    <a:pt x="4129" y="1576"/>
                  </a:cubicBezTo>
                  <a:cubicBezTo>
                    <a:pt x="4142" y="1596"/>
                    <a:pt x="4149" y="1616"/>
                    <a:pt x="4175" y="1616"/>
                  </a:cubicBezTo>
                  <a:cubicBezTo>
                    <a:pt x="4208" y="1616"/>
                    <a:pt x="4228" y="1596"/>
                    <a:pt x="4261" y="1596"/>
                  </a:cubicBezTo>
                  <a:cubicBezTo>
                    <a:pt x="4327" y="1596"/>
                    <a:pt x="4353" y="1603"/>
                    <a:pt x="4413" y="160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" name="Freeform 19"/>
            <p:cNvSpPr>
              <a:spLocks noChangeArrowheads="1"/>
            </p:cNvSpPr>
            <p:nvPr/>
          </p:nvSpPr>
          <p:spPr bwMode="auto">
            <a:xfrm>
              <a:off x="9752172" y="6299195"/>
              <a:ext cx="323829" cy="373063"/>
            </a:xfrm>
            <a:custGeom>
              <a:avLst/>
              <a:gdLst>
                <a:gd name="T0" fmla="*/ 376 w 898"/>
                <a:gd name="T1" fmla="*/ 1022 h 1036"/>
                <a:gd name="T2" fmla="*/ 376 w 898"/>
                <a:gd name="T3" fmla="*/ 1022 h 1036"/>
                <a:gd name="T4" fmla="*/ 224 w 898"/>
                <a:gd name="T5" fmla="*/ 1015 h 1036"/>
                <a:gd name="T6" fmla="*/ 138 w 898"/>
                <a:gd name="T7" fmla="*/ 1035 h 1036"/>
                <a:gd name="T8" fmla="*/ 92 w 898"/>
                <a:gd name="T9" fmla="*/ 995 h 1036"/>
                <a:gd name="T10" fmla="*/ 59 w 898"/>
                <a:gd name="T11" fmla="*/ 870 h 1036"/>
                <a:gd name="T12" fmla="*/ 0 w 898"/>
                <a:gd name="T13" fmla="*/ 692 h 1036"/>
                <a:gd name="T14" fmla="*/ 191 w 898"/>
                <a:gd name="T15" fmla="*/ 573 h 1036"/>
                <a:gd name="T16" fmla="*/ 224 w 898"/>
                <a:gd name="T17" fmla="*/ 349 h 1036"/>
                <a:gd name="T18" fmla="*/ 171 w 898"/>
                <a:gd name="T19" fmla="*/ 204 h 1036"/>
                <a:gd name="T20" fmla="*/ 145 w 898"/>
                <a:gd name="T21" fmla="*/ 0 h 1036"/>
                <a:gd name="T22" fmla="*/ 145 w 898"/>
                <a:gd name="T23" fmla="*/ 0 h 1036"/>
                <a:gd name="T24" fmla="*/ 184 w 898"/>
                <a:gd name="T25" fmla="*/ 19 h 1036"/>
                <a:gd name="T26" fmla="*/ 297 w 898"/>
                <a:gd name="T27" fmla="*/ 59 h 1036"/>
                <a:gd name="T28" fmla="*/ 422 w 898"/>
                <a:gd name="T29" fmla="*/ 164 h 1036"/>
                <a:gd name="T30" fmla="*/ 534 w 898"/>
                <a:gd name="T31" fmla="*/ 224 h 1036"/>
                <a:gd name="T32" fmla="*/ 666 w 898"/>
                <a:gd name="T33" fmla="*/ 408 h 1036"/>
                <a:gd name="T34" fmla="*/ 897 w 898"/>
                <a:gd name="T35" fmla="*/ 600 h 1036"/>
                <a:gd name="T36" fmla="*/ 897 w 898"/>
                <a:gd name="T37" fmla="*/ 600 h 1036"/>
                <a:gd name="T38" fmla="*/ 666 w 898"/>
                <a:gd name="T39" fmla="*/ 718 h 1036"/>
                <a:gd name="T40" fmla="*/ 534 w 898"/>
                <a:gd name="T41" fmla="*/ 844 h 1036"/>
                <a:gd name="T42" fmla="*/ 462 w 898"/>
                <a:gd name="T43" fmla="*/ 910 h 1036"/>
                <a:gd name="T44" fmla="*/ 376 w 898"/>
                <a:gd name="T45" fmla="*/ 1022 h 1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98" h="1036">
                  <a:moveTo>
                    <a:pt x="376" y="1022"/>
                  </a:moveTo>
                  <a:lnTo>
                    <a:pt x="376" y="1022"/>
                  </a:lnTo>
                  <a:cubicBezTo>
                    <a:pt x="316" y="1022"/>
                    <a:pt x="290" y="1015"/>
                    <a:pt x="224" y="1015"/>
                  </a:cubicBezTo>
                  <a:cubicBezTo>
                    <a:pt x="191" y="1015"/>
                    <a:pt x="171" y="1035"/>
                    <a:pt x="138" y="1035"/>
                  </a:cubicBezTo>
                  <a:cubicBezTo>
                    <a:pt x="112" y="1035"/>
                    <a:pt x="105" y="1015"/>
                    <a:pt x="92" y="995"/>
                  </a:cubicBezTo>
                  <a:cubicBezTo>
                    <a:pt x="72" y="949"/>
                    <a:pt x="66" y="923"/>
                    <a:pt x="59" y="870"/>
                  </a:cubicBezTo>
                  <a:cubicBezTo>
                    <a:pt x="59" y="798"/>
                    <a:pt x="0" y="764"/>
                    <a:pt x="0" y="692"/>
                  </a:cubicBezTo>
                  <a:cubicBezTo>
                    <a:pt x="0" y="600"/>
                    <a:pt x="105" y="587"/>
                    <a:pt x="191" y="573"/>
                  </a:cubicBezTo>
                  <a:cubicBezTo>
                    <a:pt x="224" y="349"/>
                    <a:pt x="224" y="349"/>
                    <a:pt x="224" y="349"/>
                  </a:cubicBezTo>
                  <a:cubicBezTo>
                    <a:pt x="218" y="290"/>
                    <a:pt x="184" y="263"/>
                    <a:pt x="171" y="204"/>
                  </a:cubicBezTo>
                  <a:cubicBezTo>
                    <a:pt x="151" y="125"/>
                    <a:pt x="145" y="79"/>
                    <a:pt x="145" y="0"/>
                  </a:cubicBezTo>
                  <a:lnTo>
                    <a:pt x="145" y="0"/>
                  </a:lnTo>
                  <a:cubicBezTo>
                    <a:pt x="151" y="6"/>
                    <a:pt x="165" y="13"/>
                    <a:pt x="184" y="19"/>
                  </a:cubicBezTo>
                  <a:cubicBezTo>
                    <a:pt x="224" y="39"/>
                    <a:pt x="257" y="33"/>
                    <a:pt x="297" y="59"/>
                  </a:cubicBezTo>
                  <a:cubicBezTo>
                    <a:pt x="343" y="105"/>
                    <a:pt x="363" y="138"/>
                    <a:pt x="422" y="164"/>
                  </a:cubicBezTo>
                  <a:cubicBezTo>
                    <a:pt x="468" y="191"/>
                    <a:pt x="501" y="184"/>
                    <a:pt x="534" y="224"/>
                  </a:cubicBezTo>
                  <a:cubicBezTo>
                    <a:pt x="600" y="283"/>
                    <a:pt x="607" y="349"/>
                    <a:pt x="666" y="408"/>
                  </a:cubicBezTo>
                  <a:cubicBezTo>
                    <a:pt x="752" y="494"/>
                    <a:pt x="818" y="514"/>
                    <a:pt x="897" y="600"/>
                  </a:cubicBezTo>
                  <a:lnTo>
                    <a:pt x="897" y="600"/>
                  </a:lnTo>
                  <a:cubicBezTo>
                    <a:pt x="831" y="652"/>
                    <a:pt x="758" y="679"/>
                    <a:pt x="666" y="718"/>
                  </a:cubicBezTo>
                  <a:cubicBezTo>
                    <a:pt x="607" y="745"/>
                    <a:pt x="587" y="791"/>
                    <a:pt x="534" y="844"/>
                  </a:cubicBezTo>
                  <a:cubicBezTo>
                    <a:pt x="508" y="870"/>
                    <a:pt x="488" y="877"/>
                    <a:pt x="462" y="910"/>
                  </a:cubicBezTo>
                  <a:cubicBezTo>
                    <a:pt x="435" y="956"/>
                    <a:pt x="402" y="989"/>
                    <a:pt x="376" y="102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" name="Freeform 20"/>
            <p:cNvSpPr>
              <a:spLocks noChangeArrowheads="1"/>
            </p:cNvSpPr>
            <p:nvPr/>
          </p:nvSpPr>
          <p:spPr bwMode="auto">
            <a:xfrm>
              <a:off x="9771221" y="6202358"/>
              <a:ext cx="544477" cy="314325"/>
            </a:xfrm>
            <a:custGeom>
              <a:avLst/>
              <a:gdLst>
                <a:gd name="T0" fmla="*/ 7 w 1512"/>
                <a:gd name="T1" fmla="*/ 60 h 872"/>
                <a:gd name="T2" fmla="*/ 7 w 1512"/>
                <a:gd name="T3" fmla="*/ 60 h 872"/>
                <a:gd name="T4" fmla="*/ 0 w 1512"/>
                <a:gd name="T5" fmla="*/ 119 h 872"/>
                <a:gd name="T6" fmla="*/ 93 w 1512"/>
                <a:gd name="T7" fmla="*/ 271 h 872"/>
                <a:gd name="T8" fmla="*/ 93 w 1512"/>
                <a:gd name="T9" fmla="*/ 271 h 872"/>
                <a:gd name="T10" fmla="*/ 132 w 1512"/>
                <a:gd name="T11" fmla="*/ 290 h 872"/>
                <a:gd name="T12" fmla="*/ 245 w 1512"/>
                <a:gd name="T13" fmla="*/ 330 h 872"/>
                <a:gd name="T14" fmla="*/ 370 w 1512"/>
                <a:gd name="T15" fmla="*/ 435 h 872"/>
                <a:gd name="T16" fmla="*/ 482 w 1512"/>
                <a:gd name="T17" fmla="*/ 495 h 872"/>
                <a:gd name="T18" fmla="*/ 614 w 1512"/>
                <a:gd name="T19" fmla="*/ 679 h 872"/>
                <a:gd name="T20" fmla="*/ 845 w 1512"/>
                <a:gd name="T21" fmla="*/ 871 h 872"/>
                <a:gd name="T22" fmla="*/ 845 w 1512"/>
                <a:gd name="T23" fmla="*/ 871 h 872"/>
                <a:gd name="T24" fmla="*/ 911 w 1512"/>
                <a:gd name="T25" fmla="*/ 805 h 872"/>
                <a:gd name="T26" fmla="*/ 1023 w 1512"/>
                <a:gd name="T27" fmla="*/ 706 h 872"/>
                <a:gd name="T28" fmla="*/ 1128 w 1512"/>
                <a:gd name="T29" fmla="*/ 594 h 872"/>
                <a:gd name="T30" fmla="*/ 1234 w 1512"/>
                <a:gd name="T31" fmla="*/ 501 h 872"/>
                <a:gd name="T32" fmla="*/ 1406 w 1512"/>
                <a:gd name="T33" fmla="*/ 297 h 872"/>
                <a:gd name="T34" fmla="*/ 1511 w 1512"/>
                <a:gd name="T35" fmla="*/ 165 h 872"/>
                <a:gd name="T36" fmla="*/ 1511 w 1512"/>
                <a:gd name="T37" fmla="*/ 165 h 872"/>
                <a:gd name="T38" fmla="*/ 1379 w 1512"/>
                <a:gd name="T39" fmla="*/ 125 h 872"/>
                <a:gd name="T40" fmla="*/ 1293 w 1512"/>
                <a:gd name="T41" fmla="*/ 145 h 872"/>
                <a:gd name="T42" fmla="*/ 1181 w 1512"/>
                <a:gd name="T43" fmla="*/ 125 h 872"/>
                <a:gd name="T44" fmla="*/ 1168 w 1512"/>
                <a:gd name="T45" fmla="*/ 112 h 872"/>
                <a:gd name="T46" fmla="*/ 1102 w 1512"/>
                <a:gd name="T47" fmla="*/ 165 h 872"/>
                <a:gd name="T48" fmla="*/ 911 w 1512"/>
                <a:gd name="T49" fmla="*/ 224 h 872"/>
                <a:gd name="T50" fmla="*/ 838 w 1512"/>
                <a:gd name="T51" fmla="*/ 224 h 872"/>
                <a:gd name="T52" fmla="*/ 785 w 1512"/>
                <a:gd name="T53" fmla="*/ 251 h 872"/>
                <a:gd name="T54" fmla="*/ 706 w 1512"/>
                <a:gd name="T55" fmla="*/ 231 h 872"/>
                <a:gd name="T56" fmla="*/ 515 w 1512"/>
                <a:gd name="T57" fmla="*/ 165 h 872"/>
                <a:gd name="T58" fmla="*/ 271 w 1512"/>
                <a:gd name="T59" fmla="*/ 0 h 872"/>
                <a:gd name="T60" fmla="*/ 60 w 1512"/>
                <a:gd name="T61" fmla="*/ 112 h 872"/>
                <a:gd name="T62" fmla="*/ 7 w 1512"/>
                <a:gd name="T63" fmla="*/ 60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12" h="872">
                  <a:moveTo>
                    <a:pt x="7" y="60"/>
                  </a:moveTo>
                  <a:lnTo>
                    <a:pt x="7" y="60"/>
                  </a:lnTo>
                  <a:cubicBezTo>
                    <a:pt x="7" y="79"/>
                    <a:pt x="0" y="99"/>
                    <a:pt x="0" y="119"/>
                  </a:cubicBezTo>
                  <a:cubicBezTo>
                    <a:pt x="0" y="191"/>
                    <a:pt x="34" y="237"/>
                    <a:pt x="93" y="271"/>
                  </a:cubicBezTo>
                  <a:lnTo>
                    <a:pt x="93" y="271"/>
                  </a:lnTo>
                  <a:cubicBezTo>
                    <a:pt x="99" y="277"/>
                    <a:pt x="113" y="284"/>
                    <a:pt x="132" y="290"/>
                  </a:cubicBezTo>
                  <a:cubicBezTo>
                    <a:pt x="172" y="310"/>
                    <a:pt x="205" y="304"/>
                    <a:pt x="245" y="330"/>
                  </a:cubicBezTo>
                  <a:cubicBezTo>
                    <a:pt x="291" y="376"/>
                    <a:pt x="311" y="409"/>
                    <a:pt x="370" y="435"/>
                  </a:cubicBezTo>
                  <a:cubicBezTo>
                    <a:pt x="416" y="462"/>
                    <a:pt x="449" y="455"/>
                    <a:pt x="482" y="495"/>
                  </a:cubicBezTo>
                  <a:cubicBezTo>
                    <a:pt x="548" y="554"/>
                    <a:pt x="555" y="620"/>
                    <a:pt x="614" y="679"/>
                  </a:cubicBezTo>
                  <a:cubicBezTo>
                    <a:pt x="700" y="765"/>
                    <a:pt x="766" y="785"/>
                    <a:pt x="845" y="871"/>
                  </a:cubicBezTo>
                  <a:lnTo>
                    <a:pt x="845" y="871"/>
                  </a:lnTo>
                  <a:cubicBezTo>
                    <a:pt x="871" y="851"/>
                    <a:pt x="891" y="831"/>
                    <a:pt x="911" y="805"/>
                  </a:cubicBezTo>
                  <a:cubicBezTo>
                    <a:pt x="950" y="759"/>
                    <a:pt x="977" y="739"/>
                    <a:pt x="1023" y="706"/>
                  </a:cubicBezTo>
                  <a:cubicBezTo>
                    <a:pt x="1069" y="660"/>
                    <a:pt x="1082" y="633"/>
                    <a:pt x="1128" y="594"/>
                  </a:cubicBezTo>
                  <a:cubicBezTo>
                    <a:pt x="1168" y="554"/>
                    <a:pt x="1194" y="541"/>
                    <a:pt x="1234" y="501"/>
                  </a:cubicBezTo>
                  <a:cubicBezTo>
                    <a:pt x="1300" y="422"/>
                    <a:pt x="1320" y="363"/>
                    <a:pt x="1406" y="297"/>
                  </a:cubicBezTo>
                  <a:cubicBezTo>
                    <a:pt x="1458" y="257"/>
                    <a:pt x="1478" y="218"/>
                    <a:pt x="1511" y="165"/>
                  </a:cubicBezTo>
                  <a:lnTo>
                    <a:pt x="1511" y="165"/>
                  </a:lnTo>
                  <a:cubicBezTo>
                    <a:pt x="1465" y="145"/>
                    <a:pt x="1432" y="125"/>
                    <a:pt x="1379" y="125"/>
                  </a:cubicBezTo>
                  <a:cubicBezTo>
                    <a:pt x="1346" y="125"/>
                    <a:pt x="1326" y="145"/>
                    <a:pt x="1293" y="145"/>
                  </a:cubicBezTo>
                  <a:cubicBezTo>
                    <a:pt x="1247" y="145"/>
                    <a:pt x="1221" y="139"/>
                    <a:pt x="1181" y="125"/>
                  </a:cubicBezTo>
                  <a:cubicBezTo>
                    <a:pt x="1175" y="125"/>
                    <a:pt x="1175" y="112"/>
                    <a:pt x="1168" y="112"/>
                  </a:cubicBezTo>
                  <a:cubicBezTo>
                    <a:pt x="1135" y="112"/>
                    <a:pt x="1128" y="152"/>
                    <a:pt x="1102" y="165"/>
                  </a:cubicBezTo>
                  <a:cubicBezTo>
                    <a:pt x="1036" y="211"/>
                    <a:pt x="990" y="224"/>
                    <a:pt x="911" y="224"/>
                  </a:cubicBezTo>
                  <a:cubicBezTo>
                    <a:pt x="878" y="224"/>
                    <a:pt x="865" y="224"/>
                    <a:pt x="838" y="224"/>
                  </a:cubicBezTo>
                  <a:cubicBezTo>
                    <a:pt x="818" y="224"/>
                    <a:pt x="805" y="251"/>
                    <a:pt x="785" y="251"/>
                  </a:cubicBezTo>
                  <a:cubicBezTo>
                    <a:pt x="753" y="251"/>
                    <a:pt x="733" y="237"/>
                    <a:pt x="706" y="231"/>
                  </a:cubicBezTo>
                  <a:cubicBezTo>
                    <a:pt x="627" y="218"/>
                    <a:pt x="581" y="211"/>
                    <a:pt x="515" y="165"/>
                  </a:cubicBezTo>
                  <a:cubicBezTo>
                    <a:pt x="429" y="92"/>
                    <a:pt x="390" y="0"/>
                    <a:pt x="271" y="0"/>
                  </a:cubicBezTo>
                  <a:cubicBezTo>
                    <a:pt x="179" y="0"/>
                    <a:pt x="152" y="112"/>
                    <a:pt x="60" y="112"/>
                  </a:cubicBezTo>
                  <a:cubicBezTo>
                    <a:pt x="27" y="112"/>
                    <a:pt x="14" y="86"/>
                    <a:pt x="7" y="6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" name="Freeform 21"/>
            <p:cNvSpPr>
              <a:spLocks noChangeArrowheads="1"/>
            </p:cNvSpPr>
            <p:nvPr/>
          </p:nvSpPr>
          <p:spPr bwMode="auto">
            <a:xfrm>
              <a:off x="9248967" y="5851520"/>
              <a:ext cx="1142926" cy="441325"/>
            </a:xfrm>
            <a:custGeom>
              <a:avLst/>
              <a:gdLst>
                <a:gd name="T0" fmla="*/ 1458 w 3174"/>
                <a:gd name="T1" fmla="*/ 1036 h 1228"/>
                <a:gd name="T2" fmla="*/ 983 w 3174"/>
                <a:gd name="T3" fmla="*/ 745 h 1228"/>
                <a:gd name="T4" fmla="*/ 733 w 3174"/>
                <a:gd name="T5" fmla="*/ 805 h 1228"/>
                <a:gd name="T6" fmla="*/ 515 w 3174"/>
                <a:gd name="T7" fmla="*/ 976 h 1228"/>
                <a:gd name="T8" fmla="*/ 403 w 3174"/>
                <a:gd name="T9" fmla="*/ 950 h 1228"/>
                <a:gd name="T10" fmla="*/ 251 w 3174"/>
                <a:gd name="T11" fmla="*/ 1075 h 1228"/>
                <a:gd name="T12" fmla="*/ 152 w 3174"/>
                <a:gd name="T13" fmla="*/ 910 h 1228"/>
                <a:gd name="T14" fmla="*/ 132 w 3174"/>
                <a:gd name="T15" fmla="*/ 758 h 1228"/>
                <a:gd name="T16" fmla="*/ 0 w 3174"/>
                <a:gd name="T17" fmla="*/ 666 h 1228"/>
                <a:gd name="T18" fmla="*/ 264 w 3174"/>
                <a:gd name="T19" fmla="*/ 455 h 1228"/>
                <a:gd name="T20" fmla="*/ 350 w 3174"/>
                <a:gd name="T21" fmla="*/ 336 h 1228"/>
                <a:gd name="T22" fmla="*/ 330 w 3174"/>
                <a:gd name="T23" fmla="*/ 244 h 1228"/>
                <a:gd name="T24" fmla="*/ 304 w 3174"/>
                <a:gd name="T25" fmla="*/ 46 h 1228"/>
                <a:gd name="T26" fmla="*/ 442 w 3174"/>
                <a:gd name="T27" fmla="*/ 33 h 1228"/>
                <a:gd name="T28" fmla="*/ 752 w 3174"/>
                <a:gd name="T29" fmla="*/ 7 h 1228"/>
                <a:gd name="T30" fmla="*/ 924 w 3174"/>
                <a:gd name="T31" fmla="*/ 59 h 1228"/>
                <a:gd name="T32" fmla="*/ 1069 w 3174"/>
                <a:gd name="T33" fmla="*/ 251 h 1228"/>
                <a:gd name="T34" fmla="*/ 1188 w 3174"/>
                <a:gd name="T35" fmla="*/ 284 h 1228"/>
                <a:gd name="T36" fmla="*/ 1359 w 3174"/>
                <a:gd name="T37" fmla="*/ 198 h 1228"/>
                <a:gd name="T38" fmla="*/ 1583 w 3174"/>
                <a:gd name="T39" fmla="*/ 336 h 1228"/>
                <a:gd name="T40" fmla="*/ 1775 w 3174"/>
                <a:gd name="T41" fmla="*/ 237 h 1228"/>
                <a:gd name="T42" fmla="*/ 2006 w 3174"/>
                <a:gd name="T43" fmla="*/ 191 h 1228"/>
                <a:gd name="T44" fmla="*/ 2052 w 3174"/>
                <a:gd name="T45" fmla="*/ 455 h 1228"/>
                <a:gd name="T46" fmla="*/ 2164 w 3174"/>
                <a:gd name="T47" fmla="*/ 706 h 1228"/>
                <a:gd name="T48" fmla="*/ 2316 w 3174"/>
                <a:gd name="T49" fmla="*/ 554 h 1228"/>
                <a:gd name="T50" fmla="*/ 2612 w 3174"/>
                <a:gd name="T51" fmla="*/ 448 h 1228"/>
                <a:gd name="T52" fmla="*/ 2837 w 3174"/>
                <a:gd name="T53" fmla="*/ 402 h 1228"/>
                <a:gd name="T54" fmla="*/ 3166 w 3174"/>
                <a:gd name="T55" fmla="*/ 389 h 1228"/>
                <a:gd name="T56" fmla="*/ 3166 w 3174"/>
                <a:gd name="T57" fmla="*/ 462 h 1228"/>
                <a:gd name="T58" fmla="*/ 3160 w 3174"/>
                <a:gd name="T59" fmla="*/ 712 h 1228"/>
                <a:gd name="T60" fmla="*/ 3054 w 3174"/>
                <a:gd name="T61" fmla="*/ 1016 h 1228"/>
                <a:gd name="T62" fmla="*/ 2962 w 3174"/>
                <a:gd name="T63" fmla="*/ 1141 h 1228"/>
                <a:gd name="T64" fmla="*/ 2830 w 3174"/>
                <a:gd name="T65" fmla="*/ 1101 h 1228"/>
                <a:gd name="T66" fmla="*/ 2632 w 3174"/>
                <a:gd name="T67" fmla="*/ 1101 h 1228"/>
                <a:gd name="T68" fmla="*/ 2553 w 3174"/>
                <a:gd name="T69" fmla="*/ 1141 h 1228"/>
                <a:gd name="T70" fmla="*/ 2289 w 3174"/>
                <a:gd name="T71" fmla="*/ 1200 h 1228"/>
                <a:gd name="T72" fmla="*/ 2157 w 3174"/>
                <a:gd name="T73" fmla="*/ 1207 h 1228"/>
                <a:gd name="T74" fmla="*/ 1722 w 3174"/>
                <a:gd name="T75" fmla="*/ 976 h 1228"/>
                <a:gd name="T76" fmla="*/ 1458 w 3174"/>
                <a:gd name="T77" fmla="*/ 1036 h 1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174" h="1228">
                  <a:moveTo>
                    <a:pt x="1458" y="1036"/>
                  </a:moveTo>
                  <a:lnTo>
                    <a:pt x="1458" y="1036"/>
                  </a:lnTo>
                  <a:cubicBezTo>
                    <a:pt x="1175" y="805"/>
                    <a:pt x="1175" y="805"/>
                    <a:pt x="1175" y="805"/>
                  </a:cubicBezTo>
                  <a:cubicBezTo>
                    <a:pt x="1095" y="785"/>
                    <a:pt x="1049" y="785"/>
                    <a:pt x="983" y="745"/>
                  </a:cubicBezTo>
                  <a:cubicBezTo>
                    <a:pt x="950" y="726"/>
                    <a:pt x="931" y="712"/>
                    <a:pt x="891" y="712"/>
                  </a:cubicBezTo>
                  <a:cubicBezTo>
                    <a:pt x="818" y="712"/>
                    <a:pt x="785" y="758"/>
                    <a:pt x="733" y="805"/>
                  </a:cubicBezTo>
                  <a:cubicBezTo>
                    <a:pt x="693" y="851"/>
                    <a:pt x="660" y="871"/>
                    <a:pt x="614" y="910"/>
                  </a:cubicBezTo>
                  <a:cubicBezTo>
                    <a:pt x="581" y="943"/>
                    <a:pt x="561" y="976"/>
                    <a:pt x="515" y="976"/>
                  </a:cubicBezTo>
                  <a:cubicBezTo>
                    <a:pt x="475" y="976"/>
                    <a:pt x="449" y="963"/>
                    <a:pt x="423" y="937"/>
                  </a:cubicBezTo>
                  <a:cubicBezTo>
                    <a:pt x="416" y="943"/>
                    <a:pt x="409" y="950"/>
                    <a:pt x="403" y="950"/>
                  </a:cubicBezTo>
                  <a:cubicBezTo>
                    <a:pt x="403" y="1016"/>
                    <a:pt x="390" y="1095"/>
                    <a:pt x="324" y="1095"/>
                  </a:cubicBezTo>
                  <a:cubicBezTo>
                    <a:pt x="297" y="1095"/>
                    <a:pt x="277" y="1088"/>
                    <a:pt x="251" y="1075"/>
                  </a:cubicBezTo>
                  <a:cubicBezTo>
                    <a:pt x="245" y="1062"/>
                    <a:pt x="225" y="1042"/>
                    <a:pt x="218" y="1022"/>
                  </a:cubicBezTo>
                  <a:cubicBezTo>
                    <a:pt x="205" y="983"/>
                    <a:pt x="192" y="937"/>
                    <a:pt x="152" y="910"/>
                  </a:cubicBezTo>
                  <a:cubicBezTo>
                    <a:pt x="159" y="897"/>
                    <a:pt x="172" y="890"/>
                    <a:pt x="172" y="871"/>
                  </a:cubicBezTo>
                  <a:cubicBezTo>
                    <a:pt x="172" y="824"/>
                    <a:pt x="165" y="785"/>
                    <a:pt x="132" y="758"/>
                  </a:cubicBezTo>
                  <a:cubicBezTo>
                    <a:pt x="86" y="719"/>
                    <a:pt x="47" y="712"/>
                    <a:pt x="0" y="666"/>
                  </a:cubicBezTo>
                  <a:lnTo>
                    <a:pt x="0" y="666"/>
                  </a:lnTo>
                  <a:cubicBezTo>
                    <a:pt x="33" y="613"/>
                    <a:pt x="80" y="613"/>
                    <a:pt x="139" y="580"/>
                  </a:cubicBezTo>
                  <a:cubicBezTo>
                    <a:pt x="198" y="554"/>
                    <a:pt x="218" y="501"/>
                    <a:pt x="264" y="455"/>
                  </a:cubicBezTo>
                  <a:cubicBezTo>
                    <a:pt x="284" y="429"/>
                    <a:pt x="297" y="415"/>
                    <a:pt x="317" y="389"/>
                  </a:cubicBezTo>
                  <a:cubicBezTo>
                    <a:pt x="330" y="369"/>
                    <a:pt x="350" y="363"/>
                    <a:pt x="350" y="336"/>
                  </a:cubicBezTo>
                  <a:cubicBezTo>
                    <a:pt x="350" y="310"/>
                    <a:pt x="350" y="297"/>
                    <a:pt x="350" y="270"/>
                  </a:cubicBezTo>
                  <a:cubicBezTo>
                    <a:pt x="350" y="257"/>
                    <a:pt x="337" y="251"/>
                    <a:pt x="330" y="244"/>
                  </a:cubicBezTo>
                  <a:cubicBezTo>
                    <a:pt x="317" y="198"/>
                    <a:pt x="304" y="171"/>
                    <a:pt x="304" y="125"/>
                  </a:cubicBezTo>
                  <a:cubicBezTo>
                    <a:pt x="304" y="92"/>
                    <a:pt x="304" y="72"/>
                    <a:pt x="304" y="46"/>
                  </a:cubicBezTo>
                  <a:cubicBezTo>
                    <a:pt x="357" y="46"/>
                    <a:pt x="390" y="46"/>
                    <a:pt x="442" y="33"/>
                  </a:cubicBezTo>
                  <a:lnTo>
                    <a:pt x="442" y="33"/>
                  </a:lnTo>
                  <a:cubicBezTo>
                    <a:pt x="686" y="7"/>
                    <a:pt x="686" y="7"/>
                    <a:pt x="686" y="7"/>
                  </a:cubicBezTo>
                  <a:cubicBezTo>
                    <a:pt x="713" y="7"/>
                    <a:pt x="726" y="7"/>
                    <a:pt x="752" y="7"/>
                  </a:cubicBezTo>
                  <a:cubicBezTo>
                    <a:pt x="765" y="7"/>
                    <a:pt x="772" y="0"/>
                    <a:pt x="785" y="0"/>
                  </a:cubicBezTo>
                  <a:cubicBezTo>
                    <a:pt x="845" y="0"/>
                    <a:pt x="871" y="26"/>
                    <a:pt x="924" y="59"/>
                  </a:cubicBezTo>
                  <a:cubicBezTo>
                    <a:pt x="963" y="79"/>
                    <a:pt x="990" y="99"/>
                    <a:pt x="1010" y="139"/>
                  </a:cubicBezTo>
                  <a:cubicBezTo>
                    <a:pt x="1036" y="178"/>
                    <a:pt x="1049" y="204"/>
                    <a:pt x="1069" y="251"/>
                  </a:cubicBezTo>
                  <a:cubicBezTo>
                    <a:pt x="1082" y="284"/>
                    <a:pt x="1095" y="330"/>
                    <a:pt x="1135" y="330"/>
                  </a:cubicBezTo>
                  <a:cubicBezTo>
                    <a:pt x="1161" y="330"/>
                    <a:pt x="1168" y="303"/>
                    <a:pt x="1188" y="284"/>
                  </a:cubicBezTo>
                  <a:cubicBezTo>
                    <a:pt x="1240" y="231"/>
                    <a:pt x="1287" y="211"/>
                    <a:pt x="1359" y="198"/>
                  </a:cubicBezTo>
                  <a:lnTo>
                    <a:pt x="1359" y="198"/>
                  </a:lnTo>
                  <a:cubicBezTo>
                    <a:pt x="1412" y="237"/>
                    <a:pt x="1465" y="244"/>
                    <a:pt x="1524" y="284"/>
                  </a:cubicBezTo>
                  <a:cubicBezTo>
                    <a:pt x="1544" y="303"/>
                    <a:pt x="1550" y="336"/>
                    <a:pt x="1583" y="336"/>
                  </a:cubicBezTo>
                  <a:cubicBezTo>
                    <a:pt x="1617" y="336"/>
                    <a:pt x="1630" y="303"/>
                    <a:pt x="1663" y="284"/>
                  </a:cubicBezTo>
                  <a:cubicBezTo>
                    <a:pt x="1702" y="257"/>
                    <a:pt x="1729" y="251"/>
                    <a:pt x="1775" y="237"/>
                  </a:cubicBezTo>
                  <a:cubicBezTo>
                    <a:pt x="1834" y="224"/>
                    <a:pt x="1861" y="191"/>
                    <a:pt x="1920" y="191"/>
                  </a:cubicBezTo>
                  <a:cubicBezTo>
                    <a:pt x="1953" y="191"/>
                    <a:pt x="1973" y="191"/>
                    <a:pt x="2006" y="191"/>
                  </a:cubicBezTo>
                  <a:cubicBezTo>
                    <a:pt x="2058" y="191"/>
                    <a:pt x="2124" y="211"/>
                    <a:pt x="2124" y="264"/>
                  </a:cubicBezTo>
                  <a:cubicBezTo>
                    <a:pt x="2124" y="343"/>
                    <a:pt x="2091" y="383"/>
                    <a:pt x="2052" y="455"/>
                  </a:cubicBezTo>
                  <a:cubicBezTo>
                    <a:pt x="2032" y="495"/>
                    <a:pt x="2006" y="508"/>
                    <a:pt x="2006" y="554"/>
                  </a:cubicBezTo>
                  <a:cubicBezTo>
                    <a:pt x="2006" y="633"/>
                    <a:pt x="2078" y="706"/>
                    <a:pt x="2164" y="706"/>
                  </a:cubicBezTo>
                  <a:cubicBezTo>
                    <a:pt x="2210" y="706"/>
                    <a:pt x="2223" y="666"/>
                    <a:pt x="2256" y="633"/>
                  </a:cubicBezTo>
                  <a:cubicBezTo>
                    <a:pt x="2276" y="600"/>
                    <a:pt x="2296" y="587"/>
                    <a:pt x="2316" y="554"/>
                  </a:cubicBezTo>
                  <a:cubicBezTo>
                    <a:pt x="2329" y="528"/>
                    <a:pt x="2335" y="501"/>
                    <a:pt x="2362" y="495"/>
                  </a:cubicBezTo>
                  <a:cubicBezTo>
                    <a:pt x="2461" y="468"/>
                    <a:pt x="2514" y="448"/>
                    <a:pt x="2612" y="448"/>
                  </a:cubicBezTo>
                  <a:cubicBezTo>
                    <a:pt x="2652" y="448"/>
                    <a:pt x="2678" y="482"/>
                    <a:pt x="2718" y="482"/>
                  </a:cubicBezTo>
                  <a:cubicBezTo>
                    <a:pt x="2771" y="482"/>
                    <a:pt x="2790" y="429"/>
                    <a:pt x="2837" y="402"/>
                  </a:cubicBezTo>
                  <a:cubicBezTo>
                    <a:pt x="2896" y="369"/>
                    <a:pt x="2942" y="350"/>
                    <a:pt x="3015" y="343"/>
                  </a:cubicBezTo>
                  <a:cubicBezTo>
                    <a:pt x="3166" y="389"/>
                    <a:pt x="3166" y="389"/>
                    <a:pt x="3166" y="389"/>
                  </a:cubicBezTo>
                  <a:lnTo>
                    <a:pt x="3166" y="389"/>
                  </a:lnTo>
                  <a:cubicBezTo>
                    <a:pt x="3166" y="415"/>
                    <a:pt x="3173" y="435"/>
                    <a:pt x="3166" y="462"/>
                  </a:cubicBezTo>
                  <a:cubicBezTo>
                    <a:pt x="3147" y="488"/>
                    <a:pt x="3114" y="501"/>
                    <a:pt x="3114" y="541"/>
                  </a:cubicBezTo>
                  <a:cubicBezTo>
                    <a:pt x="3114" y="607"/>
                    <a:pt x="3160" y="646"/>
                    <a:pt x="3160" y="712"/>
                  </a:cubicBezTo>
                  <a:cubicBezTo>
                    <a:pt x="3160" y="791"/>
                    <a:pt x="3127" y="831"/>
                    <a:pt x="3101" y="897"/>
                  </a:cubicBezTo>
                  <a:cubicBezTo>
                    <a:pt x="3081" y="943"/>
                    <a:pt x="3081" y="976"/>
                    <a:pt x="3054" y="1016"/>
                  </a:cubicBezTo>
                  <a:cubicBezTo>
                    <a:pt x="3034" y="1042"/>
                    <a:pt x="3008" y="1055"/>
                    <a:pt x="2988" y="1088"/>
                  </a:cubicBezTo>
                  <a:cubicBezTo>
                    <a:pt x="2975" y="1108"/>
                    <a:pt x="2969" y="1128"/>
                    <a:pt x="2962" y="1141"/>
                  </a:cubicBezTo>
                  <a:lnTo>
                    <a:pt x="2962" y="1141"/>
                  </a:lnTo>
                  <a:cubicBezTo>
                    <a:pt x="2916" y="1121"/>
                    <a:pt x="2883" y="1101"/>
                    <a:pt x="2830" y="1101"/>
                  </a:cubicBezTo>
                  <a:cubicBezTo>
                    <a:pt x="2797" y="1101"/>
                    <a:pt x="2777" y="1121"/>
                    <a:pt x="2744" y="1121"/>
                  </a:cubicBezTo>
                  <a:cubicBezTo>
                    <a:pt x="2698" y="1121"/>
                    <a:pt x="2672" y="1115"/>
                    <a:pt x="2632" y="1101"/>
                  </a:cubicBezTo>
                  <a:cubicBezTo>
                    <a:pt x="2626" y="1101"/>
                    <a:pt x="2626" y="1088"/>
                    <a:pt x="2619" y="1088"/>
                  </a:cubicBezTo>
                  <a:cubicBezTo>
                    <a:pt x="2586" y="1088"/>
                    <a:pt x="2579" y="1128"/>
                    <a:pt x="2553" y="1141"/>
                  </a:cubicBezTo>
                  <a:cubicBezTo>
                    <a:pt x="2487" y="1187"/>
                    <a:pt x="2441" y="1200"/>
                    <a:pt x="2362" y="1200"/>
                  </a:cubicBezTo>
                  <a:cubicBezTo>
                    <a:pt x="2329" y="1200"/>
                    <a:pt x="2316" y="1200"/>
                    <a:pt x="2289" y="1200"/>
                  </a:cubicBezTo>
                  <a:cubicBezTo>
                    <a:pt x="2269" y="1200"/>
                    <a:pt x="2256" y="1227"/>
                    <a:pt x="2236" y="1227"/>
                  </a:cubicBezTo>
                  <a:cubicBezTo>
                    <a:pt x="2204" y="1227"/>
                    <a:pt x="2184" y="1213"/>
                    <a:pt x="2157" y="1207"/>
                  </a:cubicBezTo>
                  <a:cubicBezTo>
                    <a:pt x="2078" y="1194"/>
                    <a:pt x="2032" y="1187"/>
                    <a:pt x="1966" y="1141"/>
                  </a:cubicBezTo>
                  <a:cubicBezTo>
                    <a:pt x="1880" y="1068"/>
                    <a:pt x="1841" y="976"/>
                    <a:pt x="1722" y="976"/>
                  </a:cubicBezTo>
                  <a:cubicBezTo>
                    <a:pt x="1630" y="976"/>
                    <a:pt x="1603" y="1088"/>
                    <a:pt x="1511" y="1088"/>
                  </a:cubicBezTo>
                  <a:cubicBezTo>
                    <a:pt x="1478" y="1088"/>
                    <a:pt x="1465" y="1062"/>
                    <a:pt x="1458" y="103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6" name="Freeform 22"/>
            <p:cNvSpPr>
              <a:spLocks noChangeArrowheads="1"/>
            </p:cNvSpPr>
            <p:nvPr/>
          </p:nvSpPr>
          <p:spPr bwMode="auto">
            <a:xfrm>
              <a:off x="9737885" y="5694357"/>
              <a:ext cx="660357" cy="411162"/>
            </a:xfrm>
            <a:custGeom>
              <a:avLst/>
              <a:gdLst>
                <a:gd name="T0" fmla="*/ 1807 w 1835"/>
                <a:gd name="T1" fmla="*/ 824 h 1142"/>
                <a:gd name="T2" fmla="*/ 1807 w 1835"/>
                <a:gd name="T3" fmla="*/ 824 h 1142"/>
                <a:gd name="T4" fmla="*/ 1656 w 1835"/>
                <a:gd name="T5" fmla="*/ 778 h 1142"/>
                <a:gd name="T6" fmla="*/ 1478 w 1835"/>
                <a:gd name="T7" fmla="*/ 837 h 1142"/>
                <a:gd name="T8" fmla="*/ 1359 w 1835"/>
                <a:gd name="T9" fmla="*/ 917 h 1142"/>
                <a:gd name="T10" fmla="*/ 1253 w 1835"/>
                <a:gd name="T11" fmla="*/ 883 h 1142"/>
                <a:gd name="T12" fmla="*/ 1003 w 1835"/>
                <a:gd name="T13" fmla="*/ 930 h 1142"/>
                <a:gd name="T14" fmla="*/ 957 w 1835"/>
                <a:gd name="T15" fmla="*/ 989 h 1142"/>
                <a:gd name="T16" fmla="*/ 897 w 1835"/>
                <a:gd name="T17" fmla="*/ 1068 h 1142"/>
                <a:gd name="T18" fmla="*/ 805 w 1835"/>
                <a:gd name="T19" fmla="*/ 1141 h 1142"/>
                <a:gd name="T20" fmla="*/ 647 w 1835"/>
                <a:gd name="T21" fmla="*/ 989 h 1142"/>
                <a:gd name="T22" fmla="*/ 693 w 1835"/>
                <a:gd name="T23" fmla="*/ 890 h 1142"/>
                <a:gd name="T24" fmla="*/ 765 w 1835"/>
                <a:gd name="T25" fmla="*/ 699 h 1142"/>
                <a:gd name="T26" fmla="*/ 647 w 1835"/>
                <a:gd name="T27" fmla="*/ 626 h 1142"/>
                <a:gd name="T28" fmla="*/ 561 w 1835"/>
                <a:gd name="T29" fmla="*/ 626 h 1142"/>
                <a:gd name="T30" fmla="*/ 416 w 1835"/>
                <a:gd name="T31" fmla="*/ 672 h 1142"/>
                <a:gd name="T32" fmla="*/ 304 w 1835"/>
                <a:gd name="T33" fmla="*/ 719 h 1142"/>
                <a:gd name="T34" fmla="*/ 224 w 1835"/>
                <a:gd name="T35" fmla="*/ 771 h 1142"/>
                <a:gd name="T36" fmla="*/ 165 w 1835"/>
                <a:gd name="T37" fmla="*/ 719 h 1142"/>
                <a:gd name="T38" fmla="*/ 0 w 1835"/>
                <a:gd name="T39" fmla="*/ 633 h 1142"/>
                <a:gd name="T40" fmla="*/ 0 w 1835"/>
                <a:gd name="T41" fmla="*/ 633 h 1142"/>
                <a:gd name="T42" fmla="*/ 27 w 1835"/>
                <a:gd name="T43" fmla="*/ 587 h 1142"/>
                <a:gd name="T44" fmla="*/ 73 w 1835"/>
                <a:gd name="T45" fmla="*/ 507 h 1142"/>
                <a:gd name="T46" fmla="*/ 0 w 1835"/>
                <a:gd name="T47" fmla="*/ 310 h 1142"/>
                <a:gd name="T48" fmla="*/ 53 w 1835"/>
                <a:gd name="T49" fmla="*/ 184 h 1142"/>
                <a:gd name="T50" fmla="*/ 53 w 1835"/>
                <a:gd name="T51" fmla="*/ 118 h 1142"/>
                <a:gd name="T52" fmla="*/ 66 w 1835"/>
                <a:gd name="T53" fmla="*/ 59 h 1142"/>
                <a:gd name="T54" fmla="*/ 66 w 1835"/>
                <a:gd name="T55" fmla="*/ 59 h 1142"/>
                <a:gd name="T56" fmla="*/ 178 w 1835"/>
                <a:gd name="T57" fmla="*/ 99 h 1142"/>
                <a:gd name="T58" fmla="*/ 290 w 1835"/>
                <a:gd name="T59" fmla="*/ 79 h 1142"/>
                <a:gd name="T60" fmla="*/ 403 w 1835"/>
                <a:gd name="T61" fmla="*/ 85 h 1142"/>
                <a:gd name="T62" fmla="*/ 594 w 1835"/>
                <a:gd name="T63" fmla="*/ 33 h 1142"/>
                <a:gd name="T64" fmla="*/ 732 w 1835"/>
                <a:gd name="T65" fmla="*/ 0 h 1142"/>
                <a:gd name="T66" fmla="*/ 673 w 1835"/>
                <a:gd name="T67" fmla="*/ 145 h 1142"/>
                <a:gd name="T68" fmla="*/ 640 w 1835"/>
                <a:gd name="T69" fmla="*/ 250 h 1142"/>
                <a:gd name="T70" fmla="*/ 713 w 1835"/>
                <a:gd name="T71" fmla="*/ 310 h 1142"/>
                <a:gd name="T72" fmla="*/ 805 w 1835"/>
                <a:gd name="T73" fmla="*/ 356 h 1142"/>
                <a:gd name="T74" fmla="*/ 884 w 1835"/>
                <a:gd name="T75" fmla="*/ 316 h 1142"/>
                <a:gd name="T76" fmla="*/ 910 w 1835"/>
                <a:gd name="T77" fmla="*/ 343 h 1142"/>
                <a:gd name="T78" fmla="*/ 963 w 1835"/>
                <a:gd name="T79" fmla="*/ 376 h 1142"/>
                <a:gd name="T80" fmla="*/ 1016 w 1835"/>
                <a:gd name="T81" fmla="*/ 422 h 1142"/>
                <a:gd name="T82" fmla="*/ 1069 w 1835"/>
                <a:gd name="T83" fmla="*/ 369 h 1142"/>
                <a:gd name="T84" fmla="*/ 1049 w 1835"/>
                <a:gd name="T85" fmla="*/ 290 h 1142"/>
                <a:gd name="T86" fmla="*/ 1095 w 1835"/>
                <a:gd name="T87" fmla="*/ 270 h 1142"/>
                <a:gd name="T88" fmla="*/ 1128 w 1835"/>
                <a:gd name="T89" fmla="*/ 197 h 1142"/>
                <a:gd name="T90" fmla="*/ 1161 w 1835"/>
                <a:gd name="T91" fmla="*/ 125 h 1142"/>
                <a:gd name="T92" fmla="*/ 1234 w 1835"/>
                <a:gd name="T93" fmla="*/ 184 h 1142"/>
                <a:gd name="T94" fmla="*/ 1412 w 1835"/>
                <a:gd name="T95" fmla="*/ 257 h 1142"/>
                <a:gd name="T96" fmla="*/ 1484 w 1835"/>
                <a:gd name="T97" fmla="*/ 257 h 1142"/>
                <a:gd name="T98" fmla="*/ 1570 w 1835"/>
                <a:gd name="T99" fmla="*/ 250 h 1142"/>
                <a:gd name="T100" fmla="*/ 1643 w 1835"/>
                <a:gd name="T101" fmla="*/ 270 h 1142"/>
                <a:gd name="T102" fmla="*/ 1794 w 1835"/>
                <a:gd name="T103" fmla="*/ 290 h 1142"/>
                <a:gd name="T104" fmla="*/ 1794 w 1835"/>
                <a:gd name="T105" fmla="*/ 290 h 1142"/>
                <a:gd name="T106" fmla="*/ 1801 w 1835"/>
                <a:gd name="T107" fmla="*/ 323 h 1142"/>
                <a:gd name="T108" fmla="*/ 1801 w 1835"/>
                <a:gd name="T109" fmla="*/ 382 h 1142"/>
                <a:gd name="T110" fmla="*/ 1821 w 1835"/>
                <a:gd name="T111" fmla="*/ 567 h 1142"/>
                <a:gd name="T112" fmla="*/ 1821 w 1835"/>
                <a:gd name="T113" fmla="*/ 620 h 1142"/>
                <a:gd name="T114" fmla="*/ 1834 w 1835"/>
                <a:gd name="T115" fmla="*/ 666 h 1142"/>
                <a:gd name="T116" fmla="*/ 1807 w 1835"/>
                <a:gd name="T117" fmla="*/ 804 h 1142"/>
                <a:gd name="T118" fmla="*/ 1807 w 1835"/>
                <a:gd name="T119" fmla="*/ 824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835" h="1142">
                  <a:moveTo>
                    <a:pt x="1807" y="824"/>
                  </a:moveTo>
                  <a:lnTo>
                    <a:pt x="1807" y="824"/>
                  </a:lnTo>
                  <a:cubicBezTo>
                    <a:pt x="1656" y="778"/>
                    <a:pt x="1656" y="778"/>
                    <a:pt x="1656" y="778"/>
                  </a:cubicBezTo>
                  <a:cubicBezTo>
                    <a:pt x="1583" y="785"/>
                    <a:pt x="1537" y="804"/>
                    <a:pt x="1478" y="837"/>
                  </a:cubicBezTo>
                  <a:cubicBezTo>
                    <a:pt x="1431" y="864"/>
                    <a:pt x="1412" y="917"/>
                    <a:pt x="1359" y="917"/>
                  </a:cubicBezTo>
                  <a:cubicBezTo>
                    <a:pt x="1319" y="917"/>
                    <a:pt x="1293" y="883"/>
                    <a:pt x="1253" y="883"/>
                  </a:cubicBezTo>
                  <a:cubicBezTo>
                    <a:pt x="1155" y="883"/>
                    <a:pt x="1102" y="903"/>
                    <a:pt x="1003" y="930"/>
                  </a:cubicBezTo>
                  <a:cubicBezTo>
                    <a:pt x="976" y="936"/>
                    <a:pt x="970" y="963"/>
                    <a:pt x="957" y="989"/>
                  </a:cubicBezTo>
                  <a:cubicBezTo>
                    <a:pt x="937" y="1022"/>
                    <a:pt x="917" y="1035"/>
                    <a:pt x="897" y="1068"/>
                  </a:cubicBezTo>
                  <a:cubicBezTo>
                    <a:pt x="864" y="1101"/>
                    <a:pt x="851" y="1141"/>
                    <a:pt x="805" y="1141"/>
                  </a:cubicBezTo>
                  <a:cubicBezTo>
                    <a:pt x="719" y="1141"/>
                    <a:pt x="647" y="1068"/>
                    <a:pt x="647" y="989"/>
                  </a:cubicBezTo>
                  <a:cubicBezTo>
                    <a:pt x="647" y="943"/>
                    <a:pt x="673" y="930"/>
                    <a:pt x="693" y="890"/>
                  </a:cubicBezTo>
                  <a:cubicBezTo>
                    <a:pt x="732" y="818"/>
                    <a:pt x="765" y="778"/>
                    <a:pt x="765" y="699"/>
                  </a:cubicBezTo>
                  <a:cubicBezTo>
                    <a:pt x="765" y="646"/>
                    <a:pt x="699" y="626"/>
                    <a:pt x="647" y="626"/>
                  </a:cubicBezTo>
                  <a:cubicBezTo>
                    <a:pt x="614" y="626"/>
                    <a:pt x="594" y="626"/>
                    <a:pt x="561" y="626"/>
                  </a:cubicBezTo>
                  <a:cubicBezTo>
                    <a:pt x="502" y="626"/>
                    <a:pt x="475" y="659"/>
                    <a:pt x="416" y="672"/>
                  </a:cubicBezTo>
                  <a:cubicBezTo>
                    <a:pt x="370" y="686"/>
                    <a:pt x="343" y="692"/>
                    <a:pt x="304" y="719"/>
                  </a:cubicBezTo>
                  <a:cubicBezTo>
                    <a:pt x="271" y="738"/>
                    <a:pt x="258" y="771"/>
                    <a:pt x="224" y="771"/>
                  </a:cubicBezTo>
                  <a:cubicBezTo>
                    <a:pt x="191" y="771"/>
                    <a:pt x="185" y="738"/>
                    <a:pt x="165" y="719"/>
                  </a:cubicBezTo>
                  <a:cubicBezTo>
                    <a:pt x="106" y="679"/>
                    <a:pt x="53" y="672"/>
                    <a:pt x="0" y="633"/>
                  </a:cubicBezTo>
                  <a:lnTo>
                    <a:pt x="0" y="633"/>
                  </a:lnTo>
                  <a:cubicBezTo>
                    <a:pt x="20" y="620"/>
                    <a:pt x="20" y="606"/>
                    <a:pt x="27" y="587"/>
                  </a:cubicBezTo>
                  <a:cubicBezTo>
                    <a:pt x="40" y="554"/>
                    <a:pt x="73" y="540"/>
                    <a:pt x="73" y="507"/>
                  </a:cubicBezTo>
                  <a:cubicBezTo>
                    <a:pt x="73" y="422"/>
                    <a:pt x="0" y="389"/>
                    <a:pt x="0" y="310"/>
                  </a:cubicBezTo>
                  <a:cubicBezTo>
                    <a:pt x="0" y="257"/>
                    <a:pt x="53" y="237"/>
                    <a:pt x="53" y="184"/>
                  </a:cubicBezTo>
                  <a:cubicBezTo>
                    <a:pt x="53" y="158"/>
                    <a:pt x="53" y="138"/>
                    <a:pt x="53" y="118"/>
                  </a:cubicBezTo>
                  <a:cubicBezTo>
                    <a:pt x="53" y="92"/>
                    <a:pt x="60" y="85"/>
                    <a:pt x="66" y="59"/>
                  </a:cubicBezTo>
                  <a:lnTo>
                    <a:pt x="66" y="59"/>
                  </a:lnTo>
                  <a:cubicBezTo>
                    <a:pt x="106" y="72"/>
                    <a:pt x="132" y="99"/>
                    <a:pt x="178" y="99"/>
                  </a:cubicBezTo>
                  <a:cubicBezTo>
                    <a:pt x="218" y="99"/>
                    <a:pt x="244" y="79"/>
                    <a:pt x="290" y="79"/>
                  </a:cubicBezTo>
                  <a:cubicBezTo>
                    <a:pt x="337" y="79"/>
                    <a:pt x="363" y="85"/>
                    <a:pt x="403" y="85"/>
                  </a:cubicBezTo>
                  <a:cubicBezTo>
                    <a:pt x="482" y="85"/>
                    <a:pt x="521" y="52"/>
                    <a:pt x="594" y="33"/>
                  </a:cubicBezTo>
                  <a:cubicBezTo>
                    <a:pt x="647" y="20"/>
                    <a:pt x="686" y="26"/>
                    <a:pt x="732" y="0"/>
                  </a:cubicBezTo>
                  <a:cubicBezTo>
                    <a:pt x="699" y="52"/>
                    <a:pt x="693" y="85"/>
                    <a:pt x="673" y="145"/>
                  </a:cubicBezTo>
                  <a:cubicBezTo>
                    <a:pt x="660" y="184"/>
                    <a:pt x="640" y="204"/>
                    <a:pt x="640" y="250"/>
                  </a:cubicBezTo>
                  <a:cubicBezTo>
                    <a:pt x="640" y="290"/>
                    <a:pt x="679" y="296"/>
                    <a:pt x="713" y="310"/>
                  </a:cubicBezTo>
                  <a:cubicBezTo>
                    <a:pt x="752" y="323"/>
                    <a:pt x="765" y="356"/>
                    <a:pt x="805" y="356"/>
                  </a:cubicBezTo>
                  <a:cubicBezTo>
                    <a:pt x="838" y="356"/>
                    <a:pt x="851" y="316"/>
                    <a:pt x="884" y="316"/>
                  </a:cubicBezTo>
                  <a:cubicBezTo>
                    <a:pt x="897" y="316"/>
                    <a:pt x="897" y="329"/>
                    <a:pt x="910" y="343"/>
                  </a:cubicBezTo>
                  <a:cubicBezTo>
                    <a:pt x="930" y="356"/>
                    <a:pt x="943" y="362"/>
                    <a:pt x="963" y="376"/>
                  </a:cubicBezTo>
                  <a:cubicBezTo>
                    <a:pt x="983" y="395"/>
                    <a:pt x="990" y="422"/>
                    <a:pt x="1016" y="422"/>
                  </a:cubicBezTo>
                  <a:cubicBezTo>
                    <a:pt x="1049" y="422"/>
                    <a:pt x="1069" y="395"/>
                    <a:pt x="1069" y="369"/>
                  </a:cubicBezTo>
                  <a:cubicBezTo>
                    <a:pt x="1069" y="336"/>
                    <a:pt x="1049" y="323"/>
                    <a:pt x="1049" y="290"/>
                  </a:cubicBezTo>
                  <a:cubicBezTo>
                    <a:pt x="1049" y="270"/>
                    <a:pt x="1082" y="283"/>
                    <a:pt x="1095" y="270"/>
                  </a:cubicBezTo>
                  <a:cubicBezTo>
                    <a:pt x="1121" y="250"/>
                    <a:pt x="1128" y="230"/>
                    <a:pt x="1128" y="197"/>
                  </a:cubicBezTo>
                  <a:cubicBezTo>
                    <a:pt x="1135" y="171"/>
                    <a:pt x="1128" y="125"/>
                    <a:pt x="1161" y="125"/>
                  </a:cubicBezTo>
                  <a:cubicBezTo>
                    <a:pt x="1201" y="125"/>
                    <a:pt x="1201" y="171"/>
                    <a:pt x="1234" y="184"/>
                  </a:cubicBezTo>
                  <a:cubicBezTo>
                    <a:pt x="1300" y="224"/>
                    <a:pt x="1339" y="257"/>
                    <a:pt x="1412" y="257"/>
                  </a:cubicBezTo>
                  <a:cubicBezTo>
                    <a:pt x="1445" y="257"/>
                    <a:pt x="1458" y="257"/>
                    <a:pt x="1484" y="257"/>
                  </a:cubicBezTo>
                  <a:cubicBezTo>
                    <a:pt x="1517" y="257"/>
                    <a:pt x="1537" y="250"/>
                    <a:pt x="1570" y="250"/>
                  </a:cubicBezTo>
                  <a:cubicBezTo>
                    <a:pt x="1596" y="250"/>
                    <a:pt x="1616" y="264"/>
                    <a:pt x="1643" y="270"/>
                  </a:cubicBezTo>
                  <a:cubicBezTo>
                    <a:pt x="1702" y="283"/>
                    <a:pt x="1735" y="277"/>
                    <a:pt x="1794" y="290"/>
                  </a:cubicBezTo>
                  <a:lnTo>
                    <a:pt x="1794" y="290"/>
                  </a:lnTo>
                  <a:cubicBezTo>
                    <a:pt x="1794" y="303"/>
                    <a:pt x="1801" y="310"/>
                    <a:pt x="1801" y="323"/>
                  </a:cubicBezTo>
                  <a:cubicBezTo>
                    <a:pt x="1801" y="349"/>
                    <a:pt x="1801" y="356"/>
                    <a:pt x="1801" y="382"/>
                  </a:cubicBezTo>
                  <a:cubicBezTo>
                    <a:pt x="1801" y="455"/>
                    <a:pt x="1821" y="494"/>
                    <a:pt x="1821" y="567"/>
                  </a:cubicBezTo>
                  <a:cubicBezTo>
                    <a:pt x="1821" y="587"/>
                    <a:pt x="1821" y="600"/>
                    <a:pt x="1821" y="620"/>
                  </a:cubicBezTo>
                  <a:cubicBezTo>
                    <a:pt x="1821" y="639"/>
                    <a:pt x="1827" y="646"/>
                    <a:pt x="1834" y="666"/>
                  </a:cubicBezTo>
                  <a:cubicBezTo>
                    <a:pt x="1834" y="719"/>
                    <a:pt x="1814" y="751"/>
                    <a:pt x="1807" y="804"/>
                  </a:cubicBezTo>
                  <a:cubicBezTo>
                    <a:pt x="1807" y="811"/>
                    <a:pt x="1807" y="818"/>
                    <a:pt x="1807" y="82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" name="Freeform 23"/>
            <p:cNvSpPr>
              <a:spLocks noChangeArrowheads="1"/>
            </p:cNvSpPr>
            <p:nvPr/>
          </p:nvSpPr>
          <p:spPr bwMode="auto">
            <a:xfrm>
              <a:off x="9761697" y="5449883"/>
              <a:ext cx="622259" cy="396875"/>
            </a:xfrm>
            <a:custGeom>
              <a:avLst/>
              <a:gdLst>
                <a:gd name="T0" fmla="*/ 0 w 1729"/>
                <a:gd name="T1" fmla="*/ 739 h 1103"/>
                <a:gd name="T2" fmla="*/ 0 w 1729"/>
                <a:gd name="T3" fmla="*/ 739 h 1103"/>
                <a:gd name="T4" fmla="*/ 112 w 1729"/>
                <a:gd name="T5" fmla="*/ 779 h 1103"/>
                <a:gd name="T6" fmla="*/ 224 w 1729"/>
                <a:gd name="T7" fmla="*/ 759 h 1103"/>
                <a:gd name="T8" fmla="*/ 337 w 1729"/>
                <a:gd name="T9" fmla="*/ 765 h 1103"/>
                <a:gd name="T10" fmla="*/ 528 w 1729"/>
                <a:gd name="T11" fmla="*/ 713 h 1103"/>
                <a:gd name="T12" fmla="*/ 666 w 1729"/>
                <a:gd name="T13" fmla="*/ 680 h 1103"/>
                <a:gd name="T14" fmla="*/ 607 w 1729"/>
                <a:gd name="T15" fmla="*/ 825 h 1103"/>
                <a:gd name="T16" fmla="*/ 574 w 1729"/>
                <a:gd name="T17" fmla="*/ 930 h 1103"/>
                <a:gd name="T18" fmla="*/ 647 w 1729"/>
                <a:gd name="T19" fmla="*/ 990 h 1103"/>
                <a:gd name="T20" fmla="*/ 739 w 1729"/>
                <a:gd name="T21" fmla="*/ 1036 h 1103"/>
                <a:gd name="T22" fmla="*/ 818 w 1729"/>
                <a:gd name="T23" fmla="*/ 996 h 1103"/>
                <a:gd name="T24" fmla="*/ 844 w 1729"/>
                <a:gd name="T25" fmla="*/ 1023 h 1103"/>
                <a:gd name="T26" fmla="*/ 897 w 1729"/>
                <a:gd name="T27" fmla="*/ 1056 h 1103"/>
                <a:gd name="T28" fmla="*/ 950 w 1729"/>
                <a:gd name="T29" fmla="*/ 1102 h 1103"/>
                <a:gd name="T30" fmla="*/ 1003 w 1729"/>
                <a:gd name="T31" fmla="*/ 1049 h 1103"/>
                <a:gd name="T32" fmla="*/ 983 w 1729"/>
                <a:gd name="T33" fmla="*/ 970 h 1103"/>
                <a:gd name="T34" fmla="*/ 1029 w 1729"/>
                <a:gd name="T35" fmla="*/ 950 h 1103"/>
                <a:gd name="T36" fmla="*/ 1062 w 1729"/>
                <a:gd name="T37" fmla="*/ 877 h 1103"/>
                <a:gd name="T38" fmla="*/ 1095 w 1729"/>
                <a:gd name="T39" fmla="*/ 805 h 1103"/>
                <a:gd name="T40" fmla="*/ 1168 w 1729"/>
                <a:gd name="T41" fmla="*/ 864 h 1103"/>
                <a:gd name="T42" fmla="*/ 1346 w 1729"/>
                <a:gd name="T43" fmla="*/ 937 h 1103"/>
                <a:gd name="T44" fmla="*/ 1418 w 1729"/>
                <a:gd name="T45" fmla="*/ 937 h 1103"/>
                <a:gd name="T46" fmla="*/ 1504 w 1729"/>
                <a:gd name="T47" fmla="*/ 930 h 1103"/>
                <a:gd name="T48" fmla="*/ 1577 w 1729"/>
                <a:gd name="T49" fmla="*/ 950 h 1103"/>
                <a:gd name="T50" fmla="*/ 1728 w 1729"/>
                <a:gd name="T51" fmla="*/ 970 h 1103"/>
                <a:gd name="T52" fmla="*/ 1728 w 1729"/>
                <a:gd name="T53" fmla="*/ 970 h 1103"/>
                <a:gd name="T54" fmla="*/ 1689 w 1729"/>
                <a:gd name="T55" fmla="*/ 792 h 1103"/>
                <a:gd name="T56" fmla="*/ 1689 w 1729"/>
                <a:gd name="T57" fmla="*/ 633 h 1103"/>
                <a:gd name="T58" fmla="*/ 1656 w 1729"/>
                <a:gd name="T59" fmla="*/ 502 h 1103"/>
                <a:gd name="T60" fmla="*/ 1616 w 1729"/>
                <a:gd name="T61" fmla="*/ 389 h 1103"/>
                <a:gd name="T62" fmla="*/ 1583 w 1729"/>
                <a:gd name="T63" fmla="*/ 337 h 1103"/>
                <a:gd name="T64" fmla="*/ 1412 w 1729"/>
                <a:gd name="T65" fmla="*/ 264 h 1103"/>
                <a:gd name="T66" fmla="*/ 1313 w 1729"/>
                <a:gd name="T67" fmla="*/ 225 h 1103"/>
                <a:gd name="T68" fmla="*/ 1174 w 1729"/>
                <a:gd name="T69" fmla="*/ 225 h 1103"/>
                <a:gd name="T70" fmla="*/ 1009 w 1729"/>
                <a:gd name="T71" fmla="*/ 165 h 1103"/>
                <a:gd name="T72" fmla="*/ 957 w 1729"/>
                <a:gd name="T73" fmla="*/ 172 h 1103"/>
                <a:gd name="T74" fmla="*/ 825 w 1729"/>
                <a:gd name="T75" fmla="*/ 79 h 1103"/>
                <a:gd name="T76" fmla="*/ 647 w 1729"/>
                <a:gd name="T77" fmla="*/ 7 h 1103"/>
                <a:gd name="T78" fmla="*/ 633 w 1729"/>
                <a:gd name="T79" fmla="*/ 0 h 1103"/>
                <a:gd name="T80" fmla="*/ 633 w 1729"/>
                <a:gd name="T81" fmla="*/ 0 h 1103"/>
                <a:gd name="T82" fmla="*/ 442 w 1729"/>
                <a:gd name="T83" fmla="*/ 93 h 1103"/>
                <a:gd name="T84" fmla="*/ 396 w 1729"/>
                <a:gd name="T85" fmla="*/ 93 h 1103"/>
                <a:gd name="T86" fmla="*/ 350 w 1729"/>
                <a:gd name="T87" fmla="*/ 165 h 1103"/>
                <a:gd name="T88" fmla="*/ 317 w 1729"/>
                <a:gd name="T89" fmla="*/ 258 h 1103"/>
                <a:gd name="T90" fmla="*/ 257 w 1729"/>
                <a:gd name="T91" fmla="*/ 436 h 1103"/>
                <a:gd name="T92" fmla="*/ 139 w 1729"/>
                <a:gd name="T93" fmla="*/ 574 h 1103"/>
                <a:gd name="T94" fmla="*/ 33 w 1729"/>
                <a:gd name="T95" fmla="*/ 633 h 1103"/>
                <a:gd name="T96" fmla="*/ 0 w 1729"/>
                <a:gd name="T97" fmla="*/ 739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729" h="1103">
                  <a:moveTo>
                    <a:pt x="0" y="739"/>
                  </a:moveTo>
                  <a:lnTo>
                    <a:pt x="0" y="739"/>
                  </a:lnTo>
                  <a:cubicBezTo>
                    <a:pt x="40" y="752"/>
                    <a:pt x="66" y="779"/>
                    <a:pt x="112" y="779"/>
                  </a:cubicBezTo>
                  <a:cubicBezTo>
                    <a:pt x="152" y="779"/>
                    <a:pt x="178" y="759"/>
                    <a:pt x="224" y="759"/>
                  </a:cubicBezTo>
                  <a:cubicBezTo>
                    <a:pt x="271" y="759"/>
                    <a:pt x="297" y="765"/>
                    <a:pt x="337" y="765"/>
                  </a:cubicBezTo>
                  <a:cubicBezTo>
                    <a:pt x="416" y="765"/>
                    <a:pt x="455" y="732"/>
                    <a:pt x="528" y="713"/>
                  </a:cubicBezTo>
                  <a:cubicBezTo>
                    <a:pt x="581" y="700"/>
                    <a:pt x="620" y="706"/>
                    <a:pt x="666" y="680"/>
                  </a:cubicBezTo>
                  <a:cubicBezTo>
                    <a:pt x="633" y="732"/>
                    <a:pt x="627" y="765"/>
                    <a:pt x="607" y="825"/>
                  </a:cubicBezTo>
                  <a:cubicBezTo>
                    <a:pt x="594" y="864"/>
                    <a:pt x="574" y="884"/>
                    <a:pt x="574" y="930"/>
                  </a:cubicBezTo>
                  <a:cubicBezTo>
                    <a:pt x="574" y="970"/>
                    <a:pt x="613" y="976"/>
                    <a:pt x="647" y="990"/>
                  </a:cubicBezTo>
                  <a:cubicBezTo>
                    <a:pt x="686" y="1003"/>
                    <a:pt x="699" y="1036"/>
                    <a:pt x="739" y="1036"/>
                  </a:cubicBezTo>
                  <a:cubicBezTo>
                    <a:pt x="772" y="1036"/>
                    <a:pt x="785" y="996"/>
                    <a:pt x="818" y="996"/>
                  </a:cubicBezTo>
                  <a:cubicBezTo>
                    <a:pt x="831" y="996"/>
                    <a:pt x="831" y="1009"/>
                    <a:pt x="844" y="1023"/>
                  </a:cubicBezTo>
                  <a:cubicBezTo>
                    <a:pt x="864" y="1036"/>
                    <a:pt x="877" y="1042"/>
                    <a:pt x="897" y="1056"/>
                  </a:cubicBezTo>
                  <a:cubicBezTo>
                    <a:pt x="917" y="1075"/>
                    <a:pt x="924" y="1102"/>
                    <a:pt x="950" y="1102"/>
                  </a:cubicBezTo>
                  <a:cubicBezTo>
                    <a:pt x="983" y="1102"/>
                    <a:pt x="1003" y="1075"/>
                    <a:pt x="1003" y="1049"/>
                  </a:cubicBezTo>
                  <a:cubicBezTo>
                    <a:pt x="1003" y="1016"/>
                    <a:pt x="983" y="1003"/>
                    <a:pt x="983" y="970"/>
                  </a:cubicBezTo>
                  <a:cubicBezTo>
                    <a:pt x="983" y="950"/>
                    <a:pt x="1016" y="963"/>
                    <a:pt x="1029" y="950"/>
                  </a:cubicBezTo>
                  <a:cubicBezTo>
                    <a:pt x="1055" y="930"/>
                    <a:pt x="1062" y="910"/>
                    <a:pt x="1062" y="877"/>
                  </a:cubicBezTo>
                  <a:cubicBezTo>
                    <a:pt x="1069" y="851"/>
                    <a:pt x="1062" y="805"/>
                    <a:pt x="1095" y="805"/>
                  </a:cubicBezTo>
                  <a:cubicBezTo>
                    <a:pt x="1135" y="805"/>
                    <a:pt x="1135" y="851"/>
                    <a:pt x="1168" y="864"/>
                  </a:cubicBezTo>
                  <a:cubicBezTo>
                    <a:pt x="1234" y="904"/>
                    <a:pt x="1273" y="937"/>
                    <a:pt x="1346" y="937"/>
                  </a:cubicBezTo>
                  <a:cubicBezTo>
                    <a:pt x="1379" y="937"/>
                    <a:pt x="1392" y="937"/>
                    <a:pt x="1418" y="937"/>
                  </a:cubicBezTo>
                  <a:cubicBezTo>
                    <a:pt x="1451" y="937"/>
                    <a:pt x="1471" y="930"/>
                    <a:pt x="1504" y="930"/>
                  </a:cubicBezTo>
                  <a:cubicBezTo>
                    <a:pt x="1530" y="930"/>
                    <a:pt x="1550" y="944"/>
                    <a:pt x="1577" y="950"/>
                  </a:cubicBezTo>
                  <a:cubicBezTo>
                    <a:pt x="1636" y="963"/>
                    <a:pt x="1669" y="957"/>
                    <a:pt x="1728" y="970"/>
                  </a:cubicBezTo>
                  <a:lnTo>
                    <a:pt x="1728" y="970"/>
                  </a:lnTo>
                  <a:cubicBezTo>
                    <a:pt x="1722" y="904"/>
                    <a:pt x="1689" y="864"/>
                    <a:pt x="1689" y="792"/>
                  </a:cubicBezTo>
                  <a:cubicBezTo>
                    <a:pt x="1689" y="726"/>
                    <a:pt x="1689" y="693"/>
                    <a:pt x="1689" y="633"/>
                  </a:cubicBezTo>
                  <a:cubicBezTo>
                    <a:pt x="1689" y="581"/>
                    <a:pt x="1662" y="554"/>
                    <a:pt x="1656" y="502"/>
                  </a:cubicBezTo>
                  <a:cubicBezTo>
                    <a:pt x="1649" y="455"/>
                    <a:pt x="1636" y="429"/>
                    <a:pt x="1616" y="389"/>
                  </a:cubicBezTo>
                  <a:cubicBezTo>
                    <a:pt x="1603" y="370"/>
                    <a:pt x="1603" y="350"/>
                    <a:pt x="1583" y="337"/>
                  </a:cubicBezTo>
                  <a:cubicBezTo>
                    <a:pt x="1524" y="297"/>
                    <a:pt x="1478" y="284"/>
                    <a:pt x="1412" y="264"/>
                  </a:cubicBezTo>
                  <a:cubicBezTo>
                    <a:pt x="1372" y="251"/>
                    <a:pt x="1352" y="225"/>
                    <a:pt x="1313" y="225"/>
                  </a:cubicBezTo>
                  <a:cubicBezTo>
                    <a:pt x="1260" y="225"/>
                    <a:pt x="1227" y="225"/>
                    <a:pt x="1174" y="225"/>
                  </a:cubicBezTo>
                  <a:cubicBezTo>
                    <a:pt x="1102" y="225"/>
                    <a:pt x="1075" y="165"/>
                    <a:pt x="1009" y="165"/>
                  </a:cubicBezTo>
                  <a:cubicBezTo>
                    <a:pt x="990" y="165"/>
                    <a:pt x="976" y="172"/>
                    <a:pt x="957" y="172"/>
                  </a:cubicBezTo>
                  <a:cubicBezTo>
                    <a:pt x="897" y="172"/>
                    <a:pt x="851" y="139"/>
                    <a:pt x="825" y="79"/>
                  </a:cubicBezTo>
                  <a:cubicBezTo>
                    <a:pt x="792" y="14"/>
                    <a:pt x="712" y="47"/>
                    <a:pt x="647" y="7"/>
                  </a:cubicBezTo>
                  <a:cubicBezTo>
                    <a:pt x="640" y="0"/>
                    <a:pt x="633" y="0"/>
                    <a:pt x="633" y="0"/>
                  </a:cubicBezTo>
                  <a:lnTo>
                    <a:pt x="633" y="0"/>
                  </a:lnTo>
                  <a:cubicBezTo>
                    <a:pt x="574" y="47"/>
                    <a:pt x="521" y="93"/>
                    <a:pt x="442" y="93"/>
                  </a:cubicBezTo>
                  <a:cubicBezTo>
                    <a:pt x="422" y="93"/>
                    <a:pt x="416" y="93"/>
                    <a:pt x="396" y="93"/>
                  </a:cubicBezTo>
                  <a:cubicBezTo>
                    <a:pt x="356" y="93"/>
                    <a:pt x="356" y="132"/>
                    <a:pt x="350" y="165"/>
                  </a:cubicBezTo>
                  <a:cubicBezTo>
                    <a:pt x="343" y="205"/>
                    <a:pt x="323" y="225"/>
                    <a:pt x="317" y="258"/>
                  </a:cubicBezTo>
                  <a:cubicBezTo>
                    <a:pt x="297" y="330"/>
                    <a:pt x="277" y="370"/>
                    <a:pt x="257" y="436"/>
                  </a:cubicBezTo>
                  <a:cubicBezTo>
                    <a:pt x="238" y="502"/>
                    <a:pt x="198" y="534"/>
                    <a:pt x="139" y="574"/>
                  </a:cubicBezTo>
                  <a:cubicBezTo>
                    <a:pt x="106" y="601"/>
                    <a:pt x="66" y="594"/>
                    <a:pt x="33" y="633"/>
                  </a:cubicBezTo>
                  <a:cubicBezTo>
                    <a:pt x="0" y="666"/>
                    <a:pt x="13" y="700"/>
                    <a:pt x="0" y="73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" name="Freeform 24"/>
            <p:cNvSpPr>
              <a:spLocks noChangeArrowheads="1"/>
            </p:cNvSpPr>
            <p:nvPr/>
          </p:nvSpPr>
          <p:spPr bwMode="auto">
            <a:xfrm>
              <a:off x="9282303" y="5014907"/>
              <a:ext cx="707979" cy="955675"/>
            </a:xfrm>
            <a:custGeom>
              <a:avLst/>
              <a:gdLst>
                <a:gd name="T0" fmla="*/ 1266 w 1966"/>
                <a:gd name="T1" fmla="*/ 2520 h 2653"/>
                <a:gd name="T2" fmla="*/ 1339 w 1966"/>
                <a:gd name="T3" fmla="*/ 2394 h 2653"/>
                <a:gd name="T4" fmla="*/ 1319 w 1966"/>
                <a:gd name="T5" fmla="*/ 2071 h 2653"/>
                <a:gd name="T6" fmla="*/ 1332 w 1966"/>
                <a:gd name="T7" fmla="*/ 1946 h 2653"/>
                <a:gd name="T8" fmla="*/ 1365 w 1966"/>
                <a:gd name="T9" fmla="*/ 1840 h 2653"/>
                <a:gd name="T10" fmla="*/ 1589 w 1966"/>
                <a:gd name="T11" fmla="*/ 1643 h 2653"/>
                <a:gd name="T12" fmla="*/ 1682 w 1966"/>
                <a:gd name="T13" fmla="*/ 1372 h 2653"/>
                <a:gd name="T14" fmla="*/ 1774 w 1966"/>
                <a:gd name="T15" fmla="*/ 1300 h 2653"/>
                <a:gd name="T16" fmla="*/ 1965 w 1966"/>
                <a:gd name="T17" fmla="*/ 1207 h 2653"/>
                <a:gd name="T18" fmla="*/ 1932 w 1966"/>
                <a:gd name="T19" fmla="*/ 1128 h 2653"/>
                <a:gd name="T20" fmla="*/ 1721 w 1966"/>
                <a:gd name="T21" fmla="*/ 937 h 2653"/>
                <a:gd name="T22" fmla="*/ 1392 w 1966"/>
                <a:gd name="T23" fmla="*/ 515 h 2653"/>
                <a:gd name="T24" fmla="*/ 1154 w 1966"/>
                <a:gd name="T25" fmla="*/ 363 h 2653"/>
                <a:gd name="T26" fmla="*/ 983 w 1966"/>
                <a:gd name="T27" fmla="*/ 244 h 2653"/>
                <a:gd name="T28" fmla="*/ 844 w 1966"/>
                <a:gd name="T29" fmla="*/ 198 h 2653"/>
                <a:gd name="T30" fmla="*/ 692 w 1966"/>
                <a:gd name="T31" fmla="*/ 99 h 2653"/>
                <a:gd name="T32" fmla="*/ 475 w 1966"/>
                <a:gd name="T33" fmla="*/ 0 h 2653"/>
                <a:gd name="T34" fmla="*/ 72 w 1966"/>
                <a:gd name="T35" fmla="*/ 20 h 2653"/>
                <a:gd name="T36" fmla="*/ 72 w 1966"/>
                <a:gd name="T37" fmla="*/ 99 h 2653"/>
                <a:gd name="T38" fmla="*/ 86 w 1966"/>
                <a:gd name="T39" fmla="*/ 304 h 2653"/>
                <a:gd name="T40" fmla="*/ 231 w 1966"/>
                <a:gd name="T41" fmla="*/ 475 h 2653"/>
                <a:gd name="T42" fmla="*/ 198 w 1966"/>
                <a:gd name="T43" fmla="*/ 653 h 2653"/>
                <a:gd name="T44" fmla="*/ 86 w 1966"/>
                <a:gd name="T45" fmla="*/ 924 h 2653"/>
                <a:gd name="T46" fmla="*/ 86 w 1966"/>
                <a:gd name="T47" fmla="*/ 1122 h 2653"/>
                <a:gd name="T48" fmla="*/ 0 w 1966"/>
                <a:gd name="T49" fmla="*/ 1530 h 2653"/>
                <a:gd name="T50" fmla="*/ 79 w 1966"/>
                <a:gd name="T51" fmla="*/ 1794 h 2653"/>
                <a:gd name="T52" fmla="*/ 112 w 1966"/>
                <a:gd name="T53" fmla="*/ 1986 h 2653"/>
                <a:gd name="T54" fmla="*/ 323 w 1966"/>
                <a:gd name="T55" fmla="*/ 2091 h 2653"/>
                <a:gd name="T56" fmla="*/ 349 w 1966"/>
                <a:gd name="T57" fmla="*/ 2355 h 2653"/>
                <a:gd name="T58" fmla="*/ 593 w 1966"/>
                <a:gd name="T59" fmla="*/ 2329 h 2653"/>
                <a:gd name="T60" fmla="*/ 692 w 1966"/>
                <a:gd name="T61" fmla="*/ 2322 h 2653"/>
                <a:gd name="T62" fmla="*/ 917 w 1966"/>
                <a:gd name="T63" fmla="*/ 2461 h 2653"/>
                <a:gd name="T64" fmla="*/ 1042 w 1966"/>
                <a:gd name="T65" fmla="*/ 2652 h 2653"/>
                <a:gd name="T66" fmla="*/ 1266 w 1966"/>
                <a:gd name="T67" fmla="*/ 2520 h 2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66" h="2653">
                  <a:moveTo>
                    <a:pt x="1266" y="2520"/>
                  </a:moveTo>
                  <a:lnTo>
                    <a:pt x="1266" y="2520"/>
                  </a:lnTo>
                  <a:cubicBezTo>
                    <a:pt x="1286" y="2507"/>
                    <a:pt x="1286" y="2493"/>
                    <a:pt x="1293" y="2474"/>
                  </a:cubicBezTo>
                  <a:cubicBezTo>
                    <a:pt x="1306" y="2441"/>
                    <a:pt x="1339" y="2427"/>
                    <a:pt x="1339" y="2394"/>
                  </a:cubicBezTo>
                  <a:cubicBezTo>
                    <a:pt x="1339" y="2309"/>
                    <a:pt x="1266" y="2276"/>
                    <a:pt x="1266" y="2197"/>
                  </a:cubicBezTo>
                  <a:cubicBezTo>
                    <a:pt x="1266" y="2144"/>
                    <a:pt x="1319" y="2124"/>
                    <a:pt x="1319" y="2071"/>
                  </a:cubicBezTo>
                  <a:cubicBezTo>
                    <a:pt x="1319" y="2045"/>
                    <a:pt x="1319" y="2025"/>
                    <a:pt x="1319" y="2005"/>
                  </a:cubicBezTo>
                  <a:cubicBezTo>
                    <a:pt x="1319" y="1979"/>
                    <a:pt x="1326" y="1972"/>
                    <a:pt x="1332" y="1946"/>
                  </a:cubicBezTo>
                  <a:lnTo>
                    <a:pt x="1332" y="1946"/>
                  </a:lnTo>
                  <a:cubicBezTo>
                    <a:pt x="1345" y="1907"/>
                    <a:pt x="1332" y="1873"/>
                    <a:pt x="1365" y="1840"/>
                  </a:cubicBezTo>
                  <a:cubicBezTo>
                    <a:pt x="1398" y="1801"/>
                    <a:pt x="1438" y="1808"/>
                    <a:pt x="1471" y="1781"/>
                  </a:cubicBezTo>
                  <a:cubicBezTo>
                    <a:pt x="1530" y="1741"/>
                    <a:pt x="1570" y="1709"/>
                    <a:pt x="1589" y="1643"/>
                  </a:cubicBezTo>
                  <a:cubicBezTo>
                    <a:pt x="1609" y="1577"/>
                    <a:pt x="1629" y="1537"/>
                    <a:pt x="1649" y="1465"/>
                  </a:cubicBezTo>
                  <a:cubicBezTo>
                    <a:pt x="1655" y="1432"/>
                    <a:pt x="1675" y="1412"/>
                    <a:pt x="1682" y="1372"/>
                  </a:cubicBezTo>
                  <a:cubicBezTo>
                    <a:pt x="1688" y="1339"/>
                    <a:pt x="1688" y="1300"/>
                    <a:pt x="1728" y="1300"/>
                  </a:cubicBezTo>
                  <a:cubicBezTo>
                    <a:pt x="1748" y="1300"/>
                    <a:pt x="1754" y="1300"/>
                    <a:pt x="1774" y="1300"/>
                  </a:cubicBezTo>
                  <a:cubicBezTo>
                    <a:pt x="1853" y="1300"/>
                    <a:pt x="1906" y="1254"/>
                    <a:pt x="1965" y="1207"/>
                  </a:cubicBezTo>
                  <a:lnTo>
                    <a:pt x="1965" y="1207"/>
                  </a:lnTo>
                  <a:cubicBezTo>
                    <a:pt x="1952" y="1201"/>
                    <a:pt x="1945" y="1194"/>
                    <a:pt x="1939" y="1181"/>
                  </a:cubicBezTo>
                  <a:cubicBezTo>
                    <a:pt x="1926" y="1168"/>
                    <a:pt x="1939" y="1148"/>
                    <a:pt x="1932" y="1128"/>
                  </a:cubicBezTo>
                  <a:cubicBezTo>
                    <a:pt x="1926" y="1095"/>
                    <a:pt x="1919" y="1082"/>
                    <a:pt x="1899" y="1056"/>
                  </a:cubicBezTo>
                  <a:cubicBezTo>
                    <a:pt x="1840" y="996"/>
                    <a:pt x="1787" y="990"/>
                    <a:pt x="1721" y="937"/>
                  </a:cubicBezTo>
                  <a:cubicBezTo>
                    <a:pt x="1589" y="844"/>
                    <a:pt x="1576" y="726"/>
                    <a:pt x="1464" y="607"/>
                  </a:cubicBezTo>
                  <a:cubicBezTo>
                    <a:pt x="1438" y="574"/>
                    <a:pt x="1425" y="541"/>
                    <a:pt x="1392" y="515"/>
                  </a:cubicBezTo>
                  <a:cubicBezTo>
                    <a:pt x="1358" y="495"/>
                    <a:pt x="1339" y="502"/>
                    <a:pt x="1306" y="482"/>
                  </a:cubicBezTo>
                  <a:cubicBezTo>
                    <a:pt x="1240" y="442"/>
                    <a:pt x="1200" y="422"/>
                    <a:pt x="1154" y="363"/>
                  </a:cubicBezTo>
                  <a:cubicBezTo>
                    <a:pt x="1134" y="317"/>
                    <a:pt x="1075" y="330"/>
                    <a:pt x="1042" y="297"/>
                  </a:cubicBezTo>
                  <a:cubicBezTo>
                    <a:pt x="1022" y="271"/>
                    <a:pt x="1009" y="264"/>
                    <a:pt x="983" y="244"/>
                  </a:cubicBezTo>
                  <a:cubicBezTo>
                    <a:pt x="956" y="225"/>
                    <a:pt x="950" y="198"/>
                    <a:pt x="917" y="198"/>
                  </a:cubicBezTo>
                  <a:cubicBezTo>
                    <a:pt x="884" y="198"/>
                    <a:pt x="870" y="198"/>
                    <a:pt x="844" y="198"/>
                  </a:cubicBezTo>
                  <a:cubicBezTo>
                    <a:pt x="791" y="198"/>
                    <a:pt x="752" y="198"/>
                    <a:pt x="719" y="159"/>
                  </a:cubicBezTo>
                  <a:cubicBezTo>
                    <a:pt x="706" y="139"/>
                    <a:pt x="706" y="119"/>
                    <a:pt x="692" y="99"/>
                  </a:cubicBezTo>
                  <a:cubicBezTo>
                    <a:pt x="659" y="73"/>
                    <a:pt x="626" y="73"/>
                    <a:pt x="587" y="53"/>
                  </a:cubicBezTo>
                  <a:cubicBezTo>
                    <a:pt x="541" y="33"/>
                    <a:pt x="521" y="0"/>
                    <a:pt x="475" y="0"/>
                  </a:cubicBezTo>
                  <a:cubicBezTo>
                    <a:pt x="382" y="0"/>
                    <a:pt x="330" y="27"/>
                    <a:pt x="237" y="27"/>
                  </a:cubicBezTo>
                  <a:cubicBezTo>
                    <a:pt x="171" y="27"/>
                    <a:pt x="138" y="20"/>
                    <a:pt x="72" y="20"/>
                  </a:cubicBezTo>
                  <a:lnTo>
                    <a:pt x="72" y="20"/>
                  </a:lnTo>
                  <a:cubicBezTo>
                    <a:pt x="79" y="46"/>
                    <a:pt x="72" y="73"/>
                    <a:pt x="72" y="99"/>
                  </a:cubicBezTo>
                  <a:cubicBezTo>
                    <a:pt x="72" y="165"/>
                    <a:pt x="59" y="205"/>
                    <a:pt x="59" y="271"/>
                  </a:cubicBezTo>
                  <a:cubicBezTo>
                    <a:pt x="59" y="284"/>
                    <a:pt x="79" y="290"/>
                    <a:pt x="86" y="304"/>
                  </a:cubicBezTo>
                  <a:cubicBezTo>
                    <a:pt x="112" y="357"/>
                    <a:pt x="145" y="383"/>
                    <a:pt x="191" y="416"/>
                  </a:cubicBezTo>
                  <a:cubicBezTo>
                    <a:pt x="211" y="436"/>
                    <a:pt x="231" y="449"/>
                    <a:pt x="231" y="475"/>
                  </a:cubicBezTo>
                  <a:cubicBezTo>
                    <a:pt x="231" y="508"/>
                    <a:pt x="217" y="528"/>
                    <a:pt x="211" y="561"/>
                  </a:cubicBezTo>
                  <a:cubicBezTo>
                    <a:pt x="211" y="600"/>
                    <a:pt x="224" y="627"/>
                    <a:pt x="198" y="653"/>
                  </a:cubicBezTo>
                  <a:cubicBezTo>
                    <a:pt x="171" y="680"/>
                    <a:pt x="138" y="686"/>
                    <a:pt x="125" y="719"/>
                  </a:cubicBezTo>
                  <a:cubicBezTo>
                    <a:pt x="99" y="798"/>
                    <a:pt x="99" y="844"/>
                    <a:pt x="86" y="924"/>
                  </a:cubicBezTo>
                  <a:cubicBezTo>
                    <a:pt x="79" y="976"/>
                    <a:pt x="59" y="1003"/>
                    <a:pt x="59" y="1049"/>
                  </a:cubicBezTo>
                  <a:cubicBezTo>
                    <a:pt x="59" y="1075"/>
                    <a:pt x="86" y="1089"/>
                    <a:pt x="86" y="1122"/>
                  </a:cubicBezTo>
                  <a:cubicBezTo>
                    <a:pt x="86" y="1155"/>
                    <a:pt x="86" y="1174"/>
                    <a:pt x="86" y="1207"/>
                  </a:cubicBezTo>
                  <a:cubicBezTo>
                    <a:pt x="86" y="1333"/>
                    <a:pt x="0" y="1399"/>
                    <a:pt x="0" y="1530"/>
                  </a:cubicBezTo>
                  <a:cubicBezTo>
                    <a:pt x="0" y="1610"/>
                    <a:pt x="86" y="1636"/>
                    <a:pt x="86" y="1715"/>
                  </a:cubicBezTo>
                  <a:cubicBezTo>
                    <a:pt x="86" y="1748"/>
                    <a:pt x="79" y="1768"/>
                    <a:pt x="79" y="1794"/>
                  </a:cubicBezTo>
                  <a:cubicBezTo>
                    <a:pt x="79" y="1834"/>
                    <a:pt x="79" y="1854"/>
                    <a:pt x="79" y="1893"/>
                  </a:cubicBezTo>
                  <a:cubicBezTo>
                    <a:pt x="79" y="1926"/>
                    <a:pt x="72" y="1972"/>
                    <a:pt x="112" y="1986"/>
                  </a:cubicBezTo>
                  <a:cubicBezTo>
                    <a:pt x="158" y="2005"/>
                    <a:pt x="191" y="2005"/>
                    <a:pt x="244" y="2019"/>
                  </a:cubicBezTo>
                  <a:cubicBezTo>
                    <a:pt x="283" y="2032"/>
                    <a:pt x="323" y="2045"/>
                    <a:pt x="323" y="2091"/>
                  </a:cubicBezTo>
                  <a:cubicBezTo>
                    <a:pt x="323" y="2144"/>
                    <a:pt x="323" y="2177"/>
                    <a:pt x="323" y="2230"/>
                  </a:cubicBezTo>
                  <a:cubicBezTo>
                    <a:pt x="323" y="2276"/>
                    <a:pt x="336" y="2302"/>
                    <a:pt x="349" y="2355"/>
                  </a:cubicBezTo>
                  <a:lnTo>
                    <a:pt x="349" y="2355"/>
                  </a:lnTo>
                  <a:cubicBezTo>
                    <a:pt x="593" y="2329"/>
                    <a:pt x="593" y="2329"/>
                    <a:pt x="593" y="2329"/>
                  </a:cubicBezTo>
                  <a:cubicBezTo>
                    <a:pt x="620" y="2329"/>
                    <a:pt x="633" y="2329"/>
                    <a:pt x="659" y="2329"/>
                  </a:cubicBezTo>
                  <a:cubicBezTo>
                    <a:pt x="672" y="2329"/>
                    <a:pt x="679" y="2322"/>
                    <a:pt x="692" y="2322"/>
                  </a:cubicBezTo>
                  <a:cubicBezTo>
                    <a:pt x="752" y="2322"/>
                    <a:pt x="778" y="2348"/>
                    <a:pt x="831" y="2381"/>
                  </a:cubicBezTo>
                  <a:cubicBezTo>
                    <a:pt x="870" y="2401"/>
                    <a:pt x="897" y="2421"/>
                    <a:pt x="917" y="2461"/>
                  </a:cubicBezTo>
                  <a:cubicBezTo>
                    <a:pt x="943" y="2500"/>
                    <a:pt x="956" y="2526"/>
                    <a:pt x="976" y="2573"/>
                  </a:cubicBezTo>
                  <a:cubicBezTo>
                    <a:pt x="989" y="2606"/>
                    <a:pt x="1002" y="2652"/>
                    <a:pt x="1042" y="2652"/>
                  </a:cubicBezTo>
                  <a:cubicBezTo>
                    <a:pt x="1068" y="2652"/>
                    <a:pt x="1075" y="2625"/>
                    <a:pt x="1095" y="2606"/>
                  </a:cubicBezTo>
                  <a:cubicBezTo>
                    <a:pt x="1147" y="2553"/>
                    <a:pt x="1194" y="2533"/>
                    <a:pt x="1266" y="252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" name="Freeform 25"/>
            <p:cNvSpPr>
              <a:spLocks noChangeArrowheads="1"/>
            </p:cNvSpPr>
            <p:nvPr/>
          </p:nvSpPr>
          <p:spPr bwMode="auto">
            <a:xfrm>
              <a:off x="7975875" y="4602157"/>
              <a:ext cx="1238169" cy="1681162"/>
            </a:xfrm>
            <a:custGeom>
              <a:avLst/>
              <a:gdLst>
                <a:gd name="T0" fmla="*/ 1392 w 3438"/>
                <a:gd name="T1" fmla="*/ 39 h 4670"/>
                <a:gd name="T2" fmla="*/ 1623 w 3438"/>
                <a:gd name="T3" fmla="*/ 138 h 4670"/>
                <a:gd name="T4" fmla="*/ 1695 w 3438"/>
                <a:gd name="T5" fmla="*/ 264 h 4670"/>
                <a:gd name="T6" fmla="*/ 1933 w 3438"/>
                <a:gd name="T7" fmla="*/ 310 h 4670"/>
                <a:gd name="T8" fmla="*/ 2078 w 3438"/>
                <a:gd name="T9" fmla="*/ 514 h 4670"/>
                <a:gd name="T10" fmla="*/ 2051 w 3438"/>
                <a:gd name="T11" fmla="*/ 613 h 4670"/>
                <a:gd name="T12" fmla="*/ 1992 w 3438"/>
                <a:gd name="T13" fmla="*/ 963 h 4670"/>
                <a:gd name="T14" fmla="*/ 2098 w 3438"/>
                <a:gd name="T15" fmla="*/ 969 h 4670"/>
                <a:gd name="T16" fmla="*/ 2256 w 3438"/>
                <a:gd name="T17" fmla="*/ 758 h 4670"/>
                <a:gd name="T18" fmla="*/ 2322 w 3438"/>
                <a:gd name="T19" fmla="*/ 824 h 4670"/>
                <a:gd name="T20" fmla="*/ 2658 w 3438"/>
                <a:gd name="T21" fmla="*/ 824 h 4670"/>
                <a:gd name="T22" fmla="*/ 2955 w 3438"/>
                <a:gd name="T23" fmla="*/ 943 h 4670"/>
                <a:gd name="T24" fmla="*/ 3239 w 3438"/>
                <a:gd name="T25" fmla="*/ 1029 h 4670"/>
                <a:gd name="T26" fmla="*/ 3403 w 3438"/>
                <a:gd name="T27" fmla="*/ 1042 h 4670"/>
                <a:gd name="T28" fmla="*/ 3371 w 3438"/>
                <a:gd name="T29" fmla="*/ 1233 h 4670"/>
                <a:gd name="T30" fmla="*/ 3080 w 3438"/>
                <a:gd name="T31" fmla="*/ 1391 h 4670"/>
                <a:gd name="T32" fmla="*/ 2935 w 3438"/>
                <a:gd name="T33" fmla="*/ 1563 h 4670"/>
                <a:gd name="T34" fmla="*/ 2810 w 3438"/>
                <a:gd name="T35" fmla="*/ 1767 h 4670"/>
                <a:gd name="T36" fmla="*/ 2836 w 3438"/>
                <a:gd name="T37" fmla="*/ 1991 h 4670"/>
                <a:gd name="T38" fmla="*/ 2797 w 3438"/>
                <a:gd name="T39" fmla="*/ 2381 h 4670"/>
                <a:gd name="T40" fmla="*/ 2685 w 3438"/>
                <a:gd name="T41" fmla="*/ 2592 h 4670"/>
                <a:gd name="T42" fmla="*/ 2784 w 3438"/>
                <a:gd name="T43" fmla="*/ 2816 h 4670"/>
                <a:gd name="T44" fmla="*/ 2658 w 3438"/>
                <a:gd name="T45" fmla="*/ 3113 h 4670"/>
                <a:gd name="T46" fmla="*/ 2295 w 3438"/>
                <a:gd name="T47" fmla="*/ 2994 h 4670"/>
                <a:gd name="T48" fmla="*/ 2078 w 3438"/>
                <a:gd name="T49" fmla="*/ 3166 h 4670"/>
                <a:gd name="T50" fmla="*/ 1834 w 3438"/>
                <a:gd name="T51" fmla="*/ 3311 h 4670"/>
                <a:gd name="T52" fmla="*/ 1557 w 3438"/>
                <a:gd name="T53" fmla="*/ 3344 h 4670"/>
                <a:gd name="T54" fmla="*/ 1385 w 3438"/>
                <a:gd name="T55" fmla="*/ 3581 h 4670"/>
                <a:gd name="T56" fmla="*/ 1253 w 3438"/>
                <a:gd name="T57" fmla="*/ 3951 h 4670"/>
                <a:gd name="T58" fmla="*/ 1194 w 3438"/>
                <a:gd name="T59" fmla="*/ 4115 h 4670"/>
                <a:gd name="T60" fmla="*/ 1187 w 3438"/>
                <a:gd name="T61" fmla="*/ 4465 h 4670"/>
                <a:gd name="T62" fmla="*/ 1168 w 3438"/>
                <a:gd name="T63" fmla="*/ 4663 h 4670"/>
                <a:gd name="T64" fmla="*/ 844 w 3438"/>
                <a:gd name="T65" fmla="*/ 4162 h 4670"/>
                <a:gd name="T66" fmla="*/ 772 w 3438"/>
                <a:gd name="T67" fmla="*/ 3904 h 4670"/>
                <a:gd name="T68" fmla="*/ 910 w 3438"/>
                <a:gd name="T69" fmla="*/ 3726 h 4670"/>
                <a:gd name="T70" fmla="*/ 699 w 3438"/>
                <a:gd name="T71" fmla="*/ 3568 h 4670"/>
                <a:gd name="T72" fmla="*/ 435 w 3438"/>
                <a:gd name="T73" fmla="*/ 3185 h 4670"/>
                <a:gd name="T74" fmla="*/ 350 w 3438"/>
                <a:gd name="T75" fmla="*/ 3054 h 4670"/>
                <a:gd name="T76" fmla="*/ 521 w 3438"/>
                <a:gd name="T77" fmla="*/ 2743 h 4670"/>
                <a:gd name="T78" fmla="*/ 561 w 3438"/>
                <a:gd name="T79" fmla="*/ 2216 h 4670"/>
                <a:gd name="T80" fmla="*/ 416 w 3438"/>
                <a:gd name="T81" fmla="*/ 2018 h 4670"/>
                <a:gd name="T82" fmla="*/ 152 w 3438"/>
                <a:gd name="T83" fmla="*/ 2025 h 4670"/>
                <a:gd name="T84" fmla="*/ 0 w 3438"/>
                <a:gd name="T85" fmla="*/ 2104 h 4670"/>
                <a:gd name="T86" fmla="*/ 409 w 3438"/>
                <a:gd name="T87" fmla="*/ 1734 h 4670"/>
                <a:gd name="T88" fmla="*/ 567 w 3438"/>
                <a:gd name="T89" fmla="*/ 1609 h 4670"/>
                <a:gd name="T90" fmla="*/ 778 w 3438"/>
                <a:gd name="T91" fmla="*/ 1365 h 4670"/>
                <a:gd name="T92" fmla="*/ 884 w 3438"/>
                <a:gd name="T93" fmla="*/ 1161 h 4670"/>
                <a:gd name="T94" fmla="*/ 983 w 3438"/>
                <a:gd name="T95" fmla="*/ 917 h 4670"/>
                <a:gd name="T96" fmla="*/ 1187 w 3438"/>
                <a:gd name="T97" fmla="*/ 580 h 4670"/>
                <a:gd name="T98" fmla="*/ 1201 w 3438"/>
                <a:gd name="T99" fmla="*/ 343 h 4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38" h="4670">
                  <a:moveTo>
                    <a:pt x="1332" y="0"/>
                  </a:moveTo>
                  <a:lnTo>
                    <a:pt x="1332" y="0"/>
                  </a:lnTo>
                  <a:cubicBezTo>
                    <a:pt x="1352" y="20"/>
                    <a:pt x="1372" y="26"/>
                    <a:pt x="1392" y="39"/>
                  </a:cubicBezTo>
                  <a:cubicBezTo>
                    <a:pt x="1431" y="72"/>
                    <a:pt x="1451" y="112"/>
                    <a:pt x="1504" y="112"/>
                  </a:cubicBezTo>
                  <a:cubicBezTo>
                    <a:pt x="1524" y="112"/>
                    <a:pt x="1537" y="99"/>
                    <a:pt x="1557" y="99"/>
                  </a:cubicBezTo>
                  <a:cubicBezTo>
                    <a:pt x="1583" y="99"/>
                    <a:pt x="1596" y="125"/>
                    <a:pt x="1623" y="138"/>
                  </a:cubicBezTo>
                  <a:cubicBezTo>
                    <a:pt x="1656" y="158"/>
                    <a:pt x="1708" y="158"/>
                    <a:pt x="1708" y="197"/>
                  </a:cubicBezTo>
                  <a:cubicBezTo>
                    <a:pt x="1708" y="224"/>
                    <a:pt x="1682" y="231"/>
                    <a:pt x="1682" y="257"/>
                  </a:cubicBezTo>
                  <a:cubicBezTo>
                    <a:pt x="1695" y="264"/>
                    <a:pt x="1695" y="264"/>
                    <a:pt x="1695" y="264"/>
                  </a:cubicBezTo>
                  <a:cubicBezTo>
                    <a:pt x="1722" y="264"/>
                    <a:pt x="1741" y="264"/>
                    <a:pt x="1768" y="264"/>
                  </a:cubicBezTo>
                  <a:cubicBezTo>
                    <a:pt x="1801" y="264"/>
                    <a:pt x="1814" y="244"/>
                    <a:pt x="1854" y="244"/>
                  </a:cubicBezTo>
                  <a:cubicBezTo>
                    <a:pt x="1893" y="244"/>
                    <a:pt x="1900" y="283"/>
                    <a:pt x="1933" y="310"/>
                  </a:cubicBezTo>
                  <a:cubicBezTo>
                    <a:pt x="1952" y="329"/>
                    <a:pt x="1972" y="343"/>
                    <a:pt x="1992" y="363"/>
                  </a:cubicBezTo>
                  <a:cubicBezTo>
                    <a:pt x="2031" y="389"/>
                    <a:pt x="2045" y="415"/>
                    <a:pt x="2058" y="455"/>
                  </a:cubicBezTo>
                  <a:cubicBezTo>
                    <a:pt x="2065" y="481"/>
                    <a:pt x="2078" y="494"/>
                    <a:pt x="2078" y="514"/>
                  </a:cubicBezTo>
                  <a:cubicBezTo>
                    <a:pt x="2078" y="527"/>
                    <a:pt x="2078" y="534"/>
                    <a:pt x="2078" y="540"/>
                  </a:cubicBezTo>
                  <a:cubicBezTo>
                    <a:pt x="2012" y="554"/>
                    <a:pt x="1959" y="534"/>
                    <a:pt x="1919" y="587"/>
                  </a:cubicBezTo>
                  <a:cubicBezTo>
                    <a:pt x="1972" y="593"/>
                    <a:pt x="1999" y="600"/>
                    <a:pt x="2051" y="613"/>
                  </a:cubicBezTo>
                  <a:cubicBezTo>
                    <a:pt x="2078" y="620"/>
                    <a:pt x="2124" y="607"/>
                    <a:pt x="2124" y="639"/>
                  </a:cubicBezTo>
                  <a:cubicBezTo>
                    <a:pt x="2124" y="672"/>
                    <a:pt x="2084" y="686"/>
                    <a:pt x="2065" y="719"/>
                  </a:cubicBezTo>
                  <a:cubicBezTo>
                    <a:pt x="2018" y="804"/>
                    <a:pt x="1992" y="864"/>
                    <a:pt x="1992" y="963"/>
                  </a:cubicBezTo>
                  <a:cubicBezTo>
                    <a:pt x="1992" y="1002"/>
                    <a:pt x="2012" y="1022"/>
                    <a:pt x="2038" y="1055"/>
                  </a:cubicBezTo>
                  <a:cubicBezTo>
                    <a:pt x="2045" y="1068"/>
                    <a:pt x="2051" y="1088"/>
                    <a:pt x="2071" y="1088"/>
                  </a:cubicBezTo>
                  <a:cubicBezTo>
                    <a:pt x="2117" y="1088"/>
                    <a:pt x="2104" y="1022"/>
                    <a:pt x="2098" y="969"/>
                  </a:cubicBezTo>
                  <a:cubicBezTo>
                    <a:pt x="2098" y="930"/>
                    <a:pt x="2130" y="917"/>
                    <a:pt x="2137" y="870"/>
                  </a:cubicBezTo>
                  <a:cubicBezTo>
                    <a:pt x="2150" y="818"/>
                    <a:pt x="2137" y="745"/>
                    <a:pt x="2190" y="745"/>
                  </a:cubicBezTo>
                  <a:cubicBezTo>
                    <a:pt x="2216" y="745"/>
                    <a:pt x="2229" y="758"/>
                    <a:pt x="2256" y="758"/>
                  </a:cubicBezTo>
                  <a:cubicBezTo>
                    <a:pt x="2256" y="765"/>
                    <a:pt x="2256" y="765"/>
                    <a:pt x="2256" y="771"/>
                  </a:cubicBezTo>
                  <a:cubicBezTo>
                    <a:pt x="2256" y="837"/>
                    <a:pt x="2249" y="870"/>
                    <a:pt x="2223" y="930"/>
                  </a:cubicBezTo>
                  <a:cubicBezTo>
                    <a:pt x="2276" y="910"/>
                    <a:pt x="2289" y="870"/>
                    <a:pt x="2322" y="824"/>
                  </a:cubicBezTo>
                  <a:cubicBezTo>
                    <a:pt x="2348" y="778"/>
                    <a:pt x="2368" y="752"/>
                    <a:pt x="2401" y="705"/>
                  </a:cubicBezTo>
                  <a:cubicBezTo>
                    <a:pt x="2434" y="725"/>
                    <a:pt x="2447" y="752"/>
                    <a:pt x="2480" y="765"/>
                  </a:cubicBezTo>
                  <a:cubicBezTo>
                    <a:pt x="2546" y="804"/>
                    <a:pt x="2592" y="804"/>
                    <a:pt x="2658" y="824"/>
                  </a:cubicBezTo>
                  <a:cubicBezTo>
                    <a:pt x="2678" y="831"/>
                    <a:pt x="2685" y="844"/>
                    <a:pt x="2698" y="857"/>
                  </a:cubicBezTo>
                  <a:cubicBezTo>
                    <a:pt x="2744" y="883"/>
                    <a:pt x="2770" y="897"/>
                    <a:pt x="2810" y="917"/>
                  </a:cubicBezTo>
                  <a:cubicBezTo>
                    <a:pt x="2863" y="943"/>
                    <a:pt x="2896" y="930"/>
                    <a:pt x="2955" y="943"/>
                  </a:cubicBezTo>
                  <a:cubicBezTo>
                    <a:pt x="3034" y="963"/>
                    <a:pt x="3074" y="996"/>
                    <a:pt x="3153" y="1022"/>
                  </a:cubicBezTo>
                  <a:cubicBezTo>
                    <a:pt x="3179" y="1035"/>
                    <a:pt x="3192" y="1048"/>
                    <a:pt x="3226" y="1048"/>
                  </a:cubicBezTo>
                  <a:cubicBezTo>
                    <a:pt x="3232" y="1048"/>
                    <a:pt x="3232" y="1035"/>
                    <a:pt x="3239" y="1029"/>
                  </a:cubicBezTo>
                  <a:cubicBezTo>
                    <a:pt x="3252" y="1022"/>
                    <a:pt x="3265" y="1022"/>
                    <a:pt x="3285" y="1015"/>
                  </a:cubicBezTo>
                  <a:cubicBezTo>
                    <a:pt x="3305" y="1002"/>
                    <a:pt x="3318" y="982"/>
                    <a:pt x="3344" y="982"/>
                  </a:cubicBezTo>
                  <a:cubicBezTo>
                    <a:pt x="3377" y="982"/>
                    <a:pt x="3384" y="1015"/>
                    <a:pt x="3403" y="1042"/>
                  </a:cubicBezTo>
                  <a:cubicBezTo>
                    <a:pt x="3417" y="1055"/>
                    <a:pt x="3430" y="1062"/>
                    <a:pt x="3437" y="1075"/>
                  </a:cubicBezTo>
                  <a:lnTo>
                    <a:pt x="3437" y="1075"/>
                  </a:lnTo>
                  <a:cubicBezTo>
                    <a:pt x="3410" y="1134"/>
                    <a:pt x="3417" y="1193"/>
                    <a:pt x="3371" y="1233"/>
                  </a:cubicBezTo>
                  <a:cubicBezTo>
                    <a:pt x="3344" y="1253"/>
                    <a:pt x="3318" y="1253"/>
                    <a:pt x="3285" y="1253"/>
                  </a:cubicBezTo>
                  <a:cubicBezTo>
                    <a:pt x="3239" y="1260"/>
                    <a:pt x="3199" y="1266"/>
                    <a:pt x="3173" y="1306"/>
                  </a:cubicBezTo>
                  <a:cubicBezTo>
                    <a:pt x="3146" y="1339"/>
                    <a:pt x="3133" y="1391"/>
                    <a:pt x="3080" y="1391"/>
                  </a:cubicBezTo>
                  <a:cubicBezTo>
                    <a:pt x="3060" y="1391"/>
                    <a:pt x="3054" y="1372"/>
                    <a:pt x="3028" y="1372"/>
                  </a:cubicBezTo>
                  <a:cubicBezTo>
                    <a:pt x="2995" y="1372"/>
                    <a:pt x="2981" y="1411"/>
                    <a:pt x="2968" y="1444"/>
                  </a:cubicBezTo>
                  <a:cubicBezTo>
                    <a:pt x="2955" y="1490"/>
                    <a:pt x="2948" y="1517"/>
                    <a:pt x="2935" y="1563"/>
                  </a:cubicBezTo>
                  <a:cubicBezTo>
                    <a:pt x="2922" y="1609"/>
                    <a:pt x="2902" y="1629"/>
                    <a:pt x="2869" y="1662"/>
                  </a:cubicBezTo>
                  <a:cubicBezTo>
                    <a:pt x="2836" y="1688"/>
                    <a:pt x="2790" y="1701"/>
                    <a:pt x="2790" y="1747"/>
                  </a:cubicBezTo>
                  <a:cubicBezTo>
                    <a:pt x="2790" y="1754"/>
                    <a:pt x="2810" y="1754"/>
                    <a:pt x="2810" y="1767"/>
                  </a:cubicBezTo>
                  <a:cubicBezTo>
                    <a:pt x="2836" y="1794"/>
                    <a:pt x="2843" y="1814"/>
                    <a:pt x="2843" y="1846"/>
                  </a:cubicBezTo>
                  <a:cubicBezTo>
                    <a:pt x="2843" y="1893"/>
                    <a:pt x="2810" y="1919"/>
                    <a:pt x="2810" y="1959"/>
                  </a:cubicBezTo>
                  <a:cubicBezTo>
                    <a:pt x="2810" y="1978"/>
                    <a:pt x="2830" y="1978"/>
                    <a:pt x="2836" y="1991"/>
                  </a:cubicBezTo>
                  <a:cubicBezTo>
                    <a:pt x="2863" y="2031"/>
                    <a:pt x="2876" y="2064"/>
                    <a:pt x="2876" y="2117"/>
                  </a:cubicBezTo>
                  <a:cubicBezTo>
                    <a:pt x="2876" y="2209"/>
                    <a:pt x="2849" y="2255"/>
                    <a:pt x="2823" y="2334"/>
                  </a:cubicBezTo>
                  <a:cubicBezTo>
                    <a:pt x="2816" y="2354"/>
                    <a:pt x="2803" y="2361"/>
                    <a:pt x="2797" y="2381"/>
                  </a:cubicBezTo>
                  <a:cubicBezTo>
                    <a:pt x="2790" y="2401"/>
                    <a:pt x="2784" y="2420"/>
                    <a:pt x="2764" y="2440"/>
                  </a:cubicBezTo>
                  <a:cubicBezTo>
                    <a:pt x="2731" y="2460"/>
                    <a:pt x="2691" y="2480"/>
                    <a:pt x="2691" y="2526"/>
                  </a:cubicBezTo>
                  <a:cubicBezTo>
                    <a:pt x="2691" y="2552"/>
                    <a:pt x="2685" y="2565"/>
                    <a:pt x="2685" y="2592"/>
                  </a:cubicBezTo>
                  <a:cubicBezTo>
                    <a:pt x="2685" y="2612"/>
                    <a:pt x="2685" y="2618"/>
                    <a:pt x="2685" y="2638"/>
                  </a:cubicBezTo>
                  <a:cubicBezTo>
                    <a:pt x="2685" y="2658"/>
                    <a:pt x="2678" y="2677"/>
                    <a:pt x="2691" y="2691"/>
                  </a:cubicBezTo>
                  <a:cubicBezTo>
                    <a:pt x="2717" y="2743"/>
                    <a:pt x="2784" y="2757"/>
                    <a:pt x="2784" y="2816"/>
                  </a:cubicBezTo>
                  <a:cubicBezTo>
                    <a:pt x="2784" y="2842"/>
                    <a:pt x="2784" y="2862"/>
                    <a:pt x="2784" y="2888"/>
                  </a:cubicBezTo>
                  <a:cubicBezTo>
                    <a:pt x="2784" y="2915"/>
                    <a:pt x="2770" y="2928"/>
                    <a:pt x="2770" y="2961"/>
                  </a:cubicBezTo>
                  <a:cubicBezTo>
                    <a:pt x="2757" y="3034"/>
                    <a:pt x="2731" y="3113"/>
                    <a:pt x="2658" y="3113"/>
                  </a:cubicBezTo>
                  <a:cubicBezTo>
                    <a:pt x="2619" y="3113"/>
                    <a:pt x="2605" y="3086"/>
                    <a:pt x="2572" y="3073"/>
                  </a:cubicBezTo>
                  <a:cubicBezTo>
                    <a:pt x="2526" y="3047"/>
                    <a:pt x="2493" y="3047"/>
                    <a:pt x="2447" y="3034"/>
                  </a:cubicBezTo>
                  <a:cubicBezTo>
                    <a:pt x="2388" y="3014"/>
                    <a:pt x="2355" y="2994"/>
                    <a:pt x="2295" y="2994"/>
                  </a:cubicBezTo>
                  <a:cubicBezTo>
                    <a:pt x="2269" y="2994"/>
                    <a:pt x="2256" y="3027"/>
                    <a:pt x="2223" y="3034"/>
                  </a:cubicBezTo>
                  <a:cubicBezTo>
                    <a:pt x="2170" y="3047"/>
                    <a:pt x="2137" y="3054"/>
                    <a:pt x="2104" y="3093"/>
                  </a:cubicBezTo>
                  <a:cubicBezTo>
                    <a:pt x="2084" y="3119"/>
                    <a:pt x="2098" y="3139"/>
                    <a:pt x="2078" y="3166"/>
                  </a:cubicBezTo>
                  <a:cubicBezTo>
                    <a:pt x="2058" y="3192"/>
                    <a:pt x="2025" y="3179"/>
                    <a:pt x="1992" y="3192"/>
                  </a:cubicBezTo>
                  <a:cubicBezTo>
                    <a:pt x="1966" y="3199"/>
                    <a:pt x="1959" y="3212"/>
                    <a:pt x="1939" y="3225"/>
                  </a:cubicBezTo>
                  <a:cubicBezTo>
                    <a:pt x="1893" y="3258"/>
                    <a:pt x="1880" y="3278"/>
                    <a:pt x="1834" y="3311"/>
                  </a:cubicBezTo>
                  <a:cubicBezTo>
                    <a:pt x="1820" y="3311"/>
                    <a:pt x="1814" y="3311"/>
                    <a:pt x="1807" y="3311"/>
                  </a:cubicBezTo>
                  <a:cubicBezTo>
                    <a:pt x="1741" y="3311"/>
                    <a:pt x="1708" y="3357"/>
                    <a:pt x="1642" y="3357"/>
                  </a:cubicBezTo>
                  <a:cubicBezTo>
                    <a:pt x="1609" y="3357"/>
                    <a:pt x="1590" y="3344"/>
                    <a:pt x="1557" y="3344"/>
                  </a:cubicBezTo>
                  <a:cubicBezTo>
                    <a:pt x="1511" y="3344"/>
                    <a:pt x="1471" y="3350"/>
                    <a:pt x="1438" y="3383"/>
                  </a:cubicBezTo>
                  <a:cubicBezTo>
                    <a:pt x="1418" y="3403"/>
                    <a:pt x="1385" y="3416"/>
                    <a:pt x="1385" y="3449"/>
                  </a:cubicBezTo>
                  <a:cubicBezTo>
                    <a:pt x="1385" y="3495"/>
                    <a:pt x="1379" y="3528"/>
                    <a:pt x="1385" y="3581"/>
                  </a:cubicBezTo>
                  <a:cubicBezTo>
                    <a:pt x="1385" y="3594"/>
                    <a:pt x="1372" y="3601"/>
                    <a:pt x="1365" y="3621"/>
                  </a:cubicBezTo>
                  <a:cubicBezTo>
                    <a:pt x="1286" y="3951"/>
                    <a:pt x="1286" y="3951"/>
                    <a:pt x="1286" y="3951"/>
                  </a:cubicBezTo>
                  <a:cubicBezTo>
                    <a:pt x="1273" y="3951"/>
                    <a:pt x="1266" y="3951"/>
                    <a:pt x="1253" y="3951"/>
                  </a:cubicBezTo>
                  <a:cubicBezTo>
                    <a:pt x="1227" y="3951"/>
                    <a:pt x="1220" y="3964"/>
                    <a:pt x="1201" y="3970"/>
                  </a:cubicBezTo>
                  <a:cubicBezTo>
                    <a:pt x="1194" y="3977"/>
                    <a:pt x="1181" y="3977"/>
                    <a:pt x="1181" y="3990"/>
                  </a:cubicBezTo>
                  <a:cubicBezTo>
                    <a:pt x="1181" y="4036"/>
                    <a:pt x="1194" y="4069"/>
                    <a:pt x="1194" y="4115"/>
                  </a:cubicBezTo>
                  <a:cubicBezTo>
                    <a:pt x="1194" y="4128"/>
                    <a:pt x="1187" y="4135"/>
                    <a:pt x="1187" y="4148"/>
                  </a:cubicBezTo>
                  <a:cubicBezTo>
                    <a:pt x="1187" y="4201"/>
                    <a:pt x="1233" y="4227"/>
                    <a:pt x="1233" y="4280"/>
                  </a:cubicBezTo>
                  <a:cubicBezTo>
                    <a:pt x="1233" y="4353"/>
                    <a:pt x="1207" y="4392"/>
                    <a:pt x="1187" y="4465"/>
                  </a:cubicBezTo>
                  <a:cubicBezTo>
                    <a:pt x="1253" y="4669"/>
                    <a:pt x="1253" y="4669"/>
                    <a:pt x="1253" y="4669"/>
                  </a:cubicBezTo>
                  <a:lnTo>
                    <a:pt x="1253" y="4669"/>
                  </a:lnTo>
                  <a:cubicBezTo>
                    <a:pt x="1220" y="4669"/>
                    <a:pt x="1207" y="4663"/>
                    <a:pt x="1168" y="4663"/>
                  </a:cubicBezTo>
                  <a:cubicBezTo>
                    <a:pt x="1082" y="4663"/>
                    <a:pt x="1029" y="4584"/>
                    <a:pt x="1009" y="4491"/>
                  </a:cubicBezTo>
                  <a:cubicBezTo>
                    <a:pt x="996" y="4432"/>
                    <a:pt x="996" y="4392"/>
                    <a:pt x="963" y="4333"/>
                  </a:cubicBezTo>
                  <a:cubicBezTo>
                    <a:pt x="923" y="4260"/>
                    <a:pt x="897" y="4227"/>
                    <a:pt x="844" y="4162"/>
                  </a:cubicBezTo>
                  <a:cubicBezTo>
                    <a:pt x="818" y="4135"/>
                    <a:pt x="805" y="4109"/>
                    <a:pt x="772" y="4082"/>
                  </a:cubicBezTo>
                  <a:cubicBezTo>
                    <a:pt x="739" y="4056"/>
                    <a:pt x="699" y="4049"/>
                    <a:pt x="699" y="4010"/>
                  </a:cubicBezTo>
                  <a:cubicBezTo>
                    <a:pt x="699" y="3957"/>
                    <a:pt x="739" y="3944"/>
                    <a:pt x="772" y="3904"/>
                  </a:cubicBezTo>
                  <a:cubicBezTo>
                    <a:pt x="798" y="3878"/>
                    <a:pt x="798" y="3852"/>
                    <a:pt x="805" y="3819"/>
                  </a:cubicBezTo>
                  <a:cubicBezTo>
                    <a:pt x="805" y="3792"/>
                    <a:pt x="805" y="3779"/>
                    <a:pt x="818" y="3759"/>
                  </a:cubicBezTo>
                  <a:cubicBezTo>
                    <a:pt x="844" y="3733"/>
                    <a:pt x="884" y="3753"/>
                    <a:pt x="910" y="3726"/>
                  </a:cubicBezTo>
                  <a:cubicBezTo>
                    <a:pt x="923" y="3706"/>
                    <a:pt x="930" y="3687"/>
                    <a:pt x="930" y="3660"/>
                  </a:cubicBezTo>
                  <a:cubicBezTo>
                    <a:pt x="930" y="3608"/>
                    <a:pt x="910" y="3548"/>
                    <a:pt x="864" y="3548"/>
                  </a:cubicBezTo>
                  <a:cubicBezTo>
                    <a:pt x="798" y="3548"/>
                    <a:pt x="765" y="3568"/>
                    <a:pt x="699" y="3568"/>
                  </a:cubicBezTo>
                  <a:cubicBezTo>
                    <a:pt x="653" y="3568"/>
                    <a:pt x="640" y="3522"/>
                    <a:pt x="627" y="3482"/>
                  </a:cubicBezTo>
                  <a:cubicBezTo>
                    <a:pt x="607" y="3410"/>
                    <a:pt x="594" y="3363"/>
                    <a:pt x="547" y="3311"/>
                  </a:cubicBezTo>
                  <a:cubicBezTo>
                    <a:pt x="508" y="3264"/>
                    <a:pt x="488" y="3218"/>
                    <a:pt x="435" y="3185"/>
                  </a:cubicBezTo>
                  <a:cubicBezTo>
                    <a:pt x="416" y="3172"/>
                    <a:pt x="429" y="3146"/>
                    <a:pt x="416" y="3126"/>
                  </a:cubicBezTo>
                  <a:cubicBezTo>
                    <a:pt x="409" y="3100"/>
                    <a:pt x="383" y="3080"/>
                    <a:pt x="356" y="3080"/>
                  </a:cubicBezTo>
                  <a:cubicBezTo>
                    <a:pt x="350" y="3067"/>
                    <a:pt x="350" y="3067"/>
                    <a:pt x="350" y="3054"/>
                  </a:cubicBezTo>
                  <a:cubicBezTo>
                    <a:pt x="350" y="3007"/>
                    <a:pt x="389" y="2994"/>
                    <a:pt x="416" y="2955"/>
                  </a:cubicBezTo>
                  <a:cubicBezTo>
                    <a:pt x="435" y="2922"/>
                    <a:pt x="435" y="2895"/>
                    <a:pt x="455" y="2869"/>
                  </a:cubicBezTo>
                  <a:cubicBezTo>
                    <a:pt x="488" y="2823"/>
                    <a:pt x="521" y="2796"/>
                    <a:pt x="521" y="2743"/>
                  </a:cubicBezTo>
                  <a:cubicBezTo>
                    <a:pt x="521" y="2691"/>
                    <a:pt x="521" y="2658"/>
                    <a:pt x="521" y="2605"/>
                  </a:cubicBezTo>
                  <a:cubicBezTo>
                    <a:pt x="521" y="2532"/>
                    <a:pt x="561" y="2493"/>
                    <a:pt x="561" y="2420"/>
                  </a:cubicBezTo>
                  <a:cubicBezTo>
                    <a:pt x="561" y="2341"/>
                    <a:pt x="561" y="2295"/>
                    <a:pt x="561" y="2216"/>
                  </a:cubicBezTo>
                  <a:cubicBezTo>
                    <a:pt x="561" y="2150"/>
                    <a:pt x="482" y="2157"/>
                    <a:pt x="422" y="2117"/>
                  </a:cubicBezTo>
                  <a:cubicBezTo>
                    <a:pt x="422" y="2044"/>
                    <a:pt x="422" y="2044"/>
                    <a:pt x="422" y="2044"/>
                  </a:cubicBezTo>
                  <a:cubicBezTo>
                    <a:pt x="416" y="2018"/>
                    <a:pt x="416" y="2018"/>
                    <a:pt x="416" y="2018"/>
                  </a:cubicBezTo>
                  <a:cubicBezTo>
                    <a:pt x="363" y="2031"/>
                    <a:pt x="336" y="2058"/>
                    <a:pt x="284" y="2058"/>
                  </a:cubicBezTo>
                  <a:cubicBezTo>
                    <a:pt x="251" y="2058"/>
                    <a:pt x="231" y="2058"/>
                    <a:pt x="198" y="2044"/>
                  </a:cubicBezTo>
                  <a:cubicBezTo>
                    <a:pt x="185" y="2038"/>
                    <a:pt x="172" y="2025"/>
                    <a:pt x="152" y="2025"/>
                  </a:cubicBezTo>
                  <a:cubicBezTo>
                    <a:pt x="119" y="2025"/>
                    <a:pt x="105" y="2044"/>
                    <a:pt x="79" y="2058"/>
                  </a:cubicBezTo>
                  <a:cubicBezTo>
                    <a:pt x="53" y="2077"/>
                    <a:pt x="26" y="2090"/>
                    <a:pt x="0" y="2104"/>
                  </a:cubicBezTo>
                  <a:lnTo>
                    <a:pt x="0" y="2104"/>
                  </a:lnTo>
                  <a:cubicBezTo>
                    <a:pt x="26" y="2025"/>
                    <a:pt x="59" y="1985"/>
                    <a:pt x="99" y="1919"/>
                  </a:cubicBezTo>
                  <a:cubicBezTo>
                    <a:pt x="172" y="1807"/>
                    <a:pt x="244" y="1728"/>
                    <a:pt x="369" y="1728"/>
                  </a:cubicBezTo>
                  <a:cubicBezTo>
                    <a:pt x="389" y="1728"/>
                    <a:pt x="396" y="1734"/>
                    <a:pt x="409" y="1734"/>
                  </a:cubicBezTo>
                  <a:cubicBezTo>
                    <a:pt x="435" y="1734"/>
                    <a:pt x="442" y="1715"/>
                    <a:pt x="462" y="1708"/>
                  </a:cubicBezTo>
                  <a:cubicBezTo>
                    <a:pt x="501" y="1695"/>
                    <a:pt x="515" y="1682"/>
                    <a:pt x="541" y="1655"/>
                  </a:cubicBezTo>
                  <a:cubicBezTo>
                    <a:pt x="554" y="1642"/>
                    <a:pt x="547" y="1622"/>
                    <a:pt x="567" y="1609"/>
                  </a:cubicBezTo>
                  <a:cubicBezTo>
                    <a:pt x="594" y="1583"/>
                    <a:pt x="600" y="1550"/>
                    <a:pt x="640" y="1530"/>
                  </a:cubicBezTo>
                  <a:cubicBezTo>
                    <a:pt x="660" y="1523"/>
                    <a:pt x="673" y="1523"/>
                    <a:pt x="693" y="1517"/>
                  </a:cubicBezTo>
                  <a:cubicBezTo>
                    <a:pt x="752" y="1477"/>
                    <a:pt x="745" y="1424"/>
                    <a:pt x="778" y="1365"/>
                  </a:cubicBezTo>
                  <a:cubicBezTo>
                    <a:pt x="791" y="1332"/>
                    <a:pt x="798" y="1312"/>
                    <a:pt x="818" y="1286"/>
                  </a:cubicBezTo>
                  <a:cubicBezTo>
                    <a:pt x="844" y="1253"/>
                    <a:pt x="890" y="1240"/>
                    <a:pt x="890" y="1200"/>
                  </a:cubicBezTo>
                  <a:cubicBezTo>
                    <a:pt x="890" y="1180"/>
                    <a:pt x="884" y="1174"/>
                    <a:pt x="884" y="1161"/>
                  </a:cubicBezTo>
                  <a:cubicBezTo>
                    <a:pt x="884" y="1134"/>
                    <a:pt x="904" y="1128"/>
                    <a:pt x="917" y="1101"/>
                  </a:cubicBezTo>
                  <a:cubicBezTo>
                    <a:pt x="930" y="1068"/>
                    <a:pt x="930" y="1048"/>
                    <a:pt x="943" y="1015"/>
                  </a:cubicBezTo>
                  <a:cubicBezTo>
                    <a:pt x="957" y="976"/>
                    <a:pt x="963" y="949"/>
                    <a:pt x="983" y="917"/>
                  </a:cubicBezTo>
                  <a:cubicBezTo>
                    <a:pt x="996" y="883"/>
                    <a:pt x="989" y="857"/>
                    <a:pt x="1016" y="837"/>
                  </a:cubicBezTo>
                  <a:cubicBezTo>
                    <a:pt x="1049" y="811"/>
                    <a:pt x="1082" y="811"/>
                    <a:pt x="1108" y="778"/>
                  </a:cubicBezTo>
                  <a:cubicBezTo>
                    <a:pt x="1154" y="712"/>
                    <a:pt x="1148" y="653"/>
                    <a:pt x="1187" y="580"/>
                  </a:cubicBezTo>
                  <a:cubicBezTo>
                    <a:pt x="1207" y="527"/>
                    <a:pt x="1247" y="508"/>
                    <a:pt x="1247" y="448"/>
                  </a:cubicBezTo>
                  <a:cubicBezTo>
                    <a:pt x="1247" y="428"/>
                    <a:pt x="1253" y="415"/>
                    <a:pt x="1240" y="395"/>
                  </a:cubicBezTo>
                  <a:cubicBezTo>
                    <a:pt x="1233" y="369"/>
                    <a:pt x="1201" y="369"/>
                    <a:pt x="1201" y="343"/>
                  </a:cubicBezTo>
                  <a:cubicBezTo>
                    <a:pt x="1201" y="296"/>
                    <a:pt x="1240" y="283"/>
                    <a:pt x="1260" y="244"/>
                  </a:cubicBezTo>
                  <a:cubicBezTo>
                    <a:pt x="1293" y="151"/>
                    <a:pt x="1300" y="99"/>
                    <a:pt x="1332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" name="Freeform 26"/>
            <p:cNvSpPr>
              <a:spLocks noChangeArrowheads="1"/>
            </p:cNvSpPr>
            <p:nvPr/>
          </p:nvSpPr>
          <p:spPr bwMode="auto">
            <a:xfrm>
              <a:off x="8401298" y="4989507"/>
              <a:ext cx="1006409" cy="1408112"/>
            </a:xfrm>
            <a:custGeom>
              <a:avLst/>
              <a:gdLst>
                <a:gd name="T0" fmla="*/ 2256 w 2797"/>
                <a:gd name="T1" fmla="*/ 0 h 3912"/>
                <a:gd name="T2" fmla="*/ 2480 w 2797"/>
                <a:gd name="T3" fmla="*/ 105 h 3912"/>
                <a:gd name="T4" fmla="*/ 2519 w 2797"/>
                <a:gd name="T5" fmla="*/ 92 h 3912"/>
                <a:gd name="T6" fmla="*/ 2506 w 2797"/>
                <a:gd name="T7" fmla="*/ 343 h 3912"/>
                <a:gd name="T8" fmla="*/ 2638 w 2797"/>
                <a:gd name="T9" fmla="*/ 488 h 3912"/>
                <a:gd name="T10" fmla="*/ 2658 w 2797"/>
                <a:gd name="T11" fmla="*/ 633 h 3912"/>
                <a:gd name="T12" fmla="*/ 2572 w 2797"/>
                <a:gd name="T13" fmla="*/ 791 h 3912"/>
                <a:gd name="T14" fmla="*/ 2506 w 2797"/>
                <a:gd name="T15" fmla="*/ 1121 h 3912"/>
                <a:gd name="T16" fmla="*/ 2533 w 2797"/>
                <a:gd name="T17" fmla="*/ 1279 h 3912"/>
                <a:gd name="T18" fmla="*/ 2533 w 2797"/>
                <a:gd name="T19" fmla="*/ 1787 h 3912"/>
                <a:gd name="T20" fmla="*/ 2526 w 2797"/>
                <a:gd name="T21" fmla="*/ 1965 h 3912"/>
                <a:gd name="T22" fmla="*/ 2691 w 2797"/>
                <a:gd name="T23" fmla="*/ 2091 h 3912"/>
                <a:gd name="T24" fmla="*/ 2770 w 2797"/>
                <a:gd name="T25" fmla="*/ 2302 h 3912"/>
                <a:gd name="T26" fmla="*/ 2796 w 2797"/>
                <a:gd name="T27" fmla="*/ 2427 h 3912"/>
                <a:gd name="T28" fmla="*/ 2658 w 2797"/>
                <a:gd name="T29" fmla="*/ 2519 h 3912"/>
                <a:gd name="T30" fmla="*/ 2704 w 2797"/>
                <a:gd name="T31" fmla="*/ 2664 h 3912"/>
                <a:gd name="T32" fmla="*/ 2671 w 2797"/>
                <a:gd name="T33" fmla="*/ 2783 h 3912"/>
                <a:gd name="T34" fmla="*/ 2493 w 2797"/>
                <a:gd name="T35" fmla="*/ 2974 h 3912"/>
                <a:gd name="T36" fmla="*/ 2354 w 2797"/>
                <a:gd name="T37" fmla="*/ 3060 h 3912"/>
                <a:gd name="T38" fmla="*/ 2183 w 2797"/>
                <a:gd name="T39" fmla="*/ 3205 h 3912"/>
                <a:gd name="T40" fmla="*/ 1965 w 2797"/>
                <a:gd name="T41" fmla="*/ 3225 h 3912"/>
                <a:gd name="T42" fmla="*/ 1688 w 2797"/>
                <a:gd name="T43" fmla="*/ 3324 h 3912"/>
                <a:gd name="T44" fmla="*/ 1411 w 2797"/>
                <a:gd name="T45" fmla="*/ 3324 h 3912"/>
                <a:gd name="T46" fmla="*/ 1240 w 2797"/>
                <a:gd name="T47" fmla="*/ 3218 h 3912"/>
                <a:gd name="T48" fmla="*/ 1022 w 2797"/>
                <a:gd name="T49" fmla="*/ 3265 h 3912"/>
                <a:gd name="T50" fmla="*/ 1088 w 2797"/>
                <a:gd name="T51" fmla="*/ 3522 h 3912"/>
                <a:gd name="T52" fmla="*/ 864 w 2797"/>
                <a:gd name="T53" fmla="*/ 3812 h 3912"/>
                <a:gd name="T54" fmla="*/ 600 w 2797"/>
                <a:gd name="T55" fmla="*/ 3911 h 3912"/>
                <a:gd name="T56" fmla="*/ 171 w 2797"/>
                <a:gd name="T57" fmla="*/ 3680 h 3912"/>
                <a:gd name="T58" fmla="*/ 72 w 2797"/>
                <a:gd name="T59" fmla="*/ 3594 h 3912"/>
                <a:gd name="T60" fmla="*/ 52 w 2797"/>
                <a:gd name="T61" fmla="*/ 3205 h 3912"/>
                <a:gd name="T62" fmla="*/ 13 w 2797"/>
                <a:gd name="T63" fmla="*/ 3040 h 3912"/>
                <a:gd name="T64" fmla="*/ 20 w 2797"/>
                <a:gd name="T65" fmla="*/ 2895 h 3912"/>
                <a:gd name="T66" fmla="*/ 105 w 2797"/>
                <a:gd name="T67" fmla="*/ 2876 h 3912"/>
                <a:gd name="T68" fmla="*/ 204 w 2797"/>
                <a:gd name="T69" fmla="*/ 2506 h 3912"/>
                <a:gd name="T70" fmla="*/ 257 w 2797"/>
                <a:gd name="T71" fmla="*/ 2308 h 3912"/>
                <a:gd name="T72" fmla="*/ 461 w 2797"/>
                <a:gd name="T73" fmla="*/ 2282 h 3912"/>
                <a:gd name="T74" fmla="*/ 653 w 2797"/>
                <a:gd name="T75" fmla="*/ 2236 h 3912"/>
                <a:gd name="T76" fmla="*/ 811 w 2797"/>
                <a:gd name="T77" fmla="*/ 2117 h 3912"/>
                <a:gd name="T78" fmla="*/ 923 w 2797"/>
                <a:gd name="T79" fmla="*/ 2018 h 3912"/>
                <a:gd name="T80" fmla="*/ 1114 w 2797"/>
                <a:gd name="T81" fmla="*/ 1919 h 3912"/>
                <a:gd name="T82" fmla="*/ 1391 w 2797"/>
                <a:gd name="T83" fmla="*/ 1998 h 3912"/>
                <a:gd name="T84" fmla="*/ 1589 w 2797"/>
                <a:gd name="T85" fmla="*/ 1886 h 3912"/>
                <a:gd name="T86" fmla="*/ 1603 w 2797"/>
                <a:gd name="T87" fmla="*/ 1741 h 3912"/>
                <a:gd name="T88" fmla="*/ 1504 w 2797"/>
                <a:gd name="T89" fmla="*/ 1563 h 3912"/>
                <a:gd name="T90" fmla="*/ 1510 w 2797"/>
                <a:gd name="T91" fmla="*/ 1451 h 3912"/>
                <a:gd name="T92" fmla="*/ 1616 w 2797"/>
                <a:gd name="T93" fmla="*/ 1306 h 3912"/>
                <a:gd name="T94" fmla="*/ 1695 w 2797"/>
                <a:gd name="T95" fmla="*/ 1042 h 3912"/>
                <a:gd name="T96" fmla="*/ 1629 w 2797"/>
                <a:gd name="T97" fmla="*/ 884 h 3912"/>
                <a:gd name="T98" fmla="*/ 1629 w 2797"/>
                <a:gd name="T99" fmla="*/ 692 h 3912"/>
                <a:gd name="T100" fmla="*/ 1688 w 2797"/>
                <a:gd name="T101" fmla="*/ 587 h 3912"/>
                <a:gd name="T102" fmla="*/ 1787 w 2797"/>
                <a:gd name="T103" fmla="*/ 369 h 3912"/>
                <a:gd name="T104" fmla="*/ 1899 w 2797"/>
                <a:gd name="T105" fmla="*/ 316 h 3912"/>
                <a:gd name="T106" fmla="*/ 2104 w 2797"/>
                <a:gd name="T107" fmla="*/ 178 h 3912"/>
                <a:gd name="T108" fmla="*/ 2256 w 2797"/>
                <a:gd name="T109" fmla="*/ 0 h 3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7" h="3912">
                  <a:moveTo>
                    <a:pt x="2256" y="0"/>
                  </a:moveTo>
                  <a:lnTo>
                    <a:pt x="2256" y="0"/>
                  </a:lnTo>
                  <a:cubicBezTo>
                    <a:pt x="2275" y="13"/>
                    <a:pt x="2295" y="26"/>
                    <a:pt x="2321" y="39"/>
                  </a:cubicBezTo>
                  <a:cubicBezTo>
                    <a:pt x="2381" y="72"/>
                    <a:pt x="2414" y="105"/>
                    <a:pt x="2480" y="105"/>
                  </a:cubicBezTo>
                  <a:cubicBezTo>
                    <a:pt x="2493" y="105"/>
                    <a:pt x="2500" y="92"/>
                    <a:pt x="2519" y="92"/>
                  </a:cubicBezTo>
                  <a:lnTo>
                    <a:pt x="2519" y="92"/>
                  </a:lnTo>
                  <a:cubicBezTo>
                    <a:pt x="2526" y="118"/>
                    <a:pt x="2519" y="145"/>
                    <a:pt x="2519" y="171"/>
                  </a:cubicBezTo>
                  <a:cubicBezTo>
                    <a:pt x="2519" y="237"/>
                    <a:pt x="2506" y="277"/>
                    <a:pt x="2506" y="343"/>
                  </a:cubicBezTo>
                  <a:cubicBezTo>
                    <a:pt x="2506" y="356"/>
                    <a:pt x="2526" y="362"/>
                    <a:pt x="2533" y="376"/>
                  </a:cubicBezTo>
                  <a:cubicBezTo>
                    <a:pt x="2559" y="429"/>
                    <a:pt x="2592" y="455"/>
                    <a:pt x="2638" y="488"/>
                  </a:cubicBezTo>
                  <a:cubicBezTo>
                    <a:pt x="2658" y="508"/>
                    <a:pt x="2678" y="521"/>
                    <a:pt x="2678" y="547"/>
                  </a:cubicBezTo>
                  <a:cubicBezTo>
                    <a:pt x="2678" y="580"/>
                    <a:pt x="2664" y="600"/>
                    <a:pt x="2658" y="633"/>
                  </a:cubicBezTo>
                  <a:cubicBezTo>
                    <a:pt x="2658" y="672"/>
                    <a:pt x="2671" y="699"/>
                    <a:pt x="2645" y="725"/>
                  </a:cubicBezTo>
                  <a:cubicBezTo>
                    <a:pt x="2618" y="752"/>
                    <a:pt x="2585" y="758"/>
                    <a:pt x="2572" y="791"/>
                  </a:cubicBezTo>
                  <a:cubicBezTo>
                    <a:pt x="2546" y="870"/>
                    <a:pt x="2546" y="916"/>
                    <a:pt x="2533" y="996"/>
                  </a:cubicBezTo>
                  <a:cubicBezTo>
                    <a:pt x="2526" y="1048"/>
                    <a:pt x="2506" y="1075"/>
                    <a:pt x="2506" y="1121"/>
                  </a:cubicBezTo>
                  <a:cubicBezTo>
                    <a:pt x="2506" y="1147"/>
                    <a:pt x="2533" y="1161"/>
                    <a:pt x="2533" y="1194"/>
                  </a:cubicBezTo>
                  <a:cubicBezTo>
                    <a:pt x="2533" y="1227"/>
                    <a:pt x="2533" y="1246"/>
                    <a:pt x="2533" y="1279"/>
                  </a:cubicBezTo>
                  <a:cubicBezTo>
                    <a:pt x="2533" y="1405"/>
                    <a:pt x="2447" y="1471"/>
                    <a:pt x="2447" y="1602"/>
                  </a:cubicBezTo>
                  <a:cubicBezTo>
                    <a:pt x="2447" y="1682"/>
                    <a:pt x="2533" y="1708"/>
                    <a:pt x="2533" y="1787"/>
                  </a:cubicBezTo>
                  <a:cubicBezTo>
                    <a:pt x="2533" y="1820"/>
                    <a:pt x="2526" y="1840"/>
                    <a:pt x="2526" y="1866"/>
                  </a:cubicBezTo>
                  <a:cubicBezTo>
                    <a:pt x="2526" y="1906"/>
                    <a:pt x="2526" y="1926"/>
                    <a:pt x="2526" y="1965"/>
                  </a:cubicBezTo>
                  <a:cubicBezTo>
                    <a:pt x="2526" y="1998"/>
                    <a:pt x="2519" y="2044"/>
                    <a:pt x="2559" y="2058"/>
                  </a:cubicBezTo>
                  <a:cubicBezTo>
                    <a:pt x="2605" y="2077"/>
                    <a:pt x="2638" y="2077"/>
                    <a:pt x="2691" y="2091"/>
                  </a:cubicBezTo>
                  <a:cubicBezTo>
                    <a:pt x="2730" y="2104"/>
                    <a:pt x="2770" y="2117"/>
                    <a:pt x="2770" y="2163"/>
                  </a:cubicBezTo>
                  <a:cubicBezTo>
                    <a:pt x="2770" y="2216"/>
                    <a:pt x="2770" y="2249"/>
                    <a:pt x="2770" y="2302"/>
                  </a:cubicBezTo>
                  <a:cubicBezTo>
                    <a:pt x="2770" y="2348"/>
                    <a:pt x="2783" y="2374"/>
                    <a:pt x="2796" y="2427"/>
                  </a:cubicBezTo>
                  <a:lnTo>
                    <a:pt x="2796" y="2427"/>
                  </a:lnTo>
                  <a:cubicBezTo>
                    <a:pt x="2744" y="2440"/>
                    <a:pt x="2711" y="2440"/>
                    <a:pt x="2658" y="2440"/>
                  </a:cubicBezTo>
                  <a:cubicBezTo>
                    <a:pt x="2658" y="2466"/>
                    <a:pt x="2658" y="2486"/>
                    <a:pt x="2658" y="2519"/>
                  </a:cubicBezTo>
                  <a:cubicBezTo>
                    <a:pt x="2658" y="2565"/>
                    <a:pt x="2671" y="2592"/>
                    <a:pt x="2684" y="2638"/>
                  </a:cubicBezTo>
                  <a:cubicBezTo>
                    <a:pt x="2691" y="2645"/>
                    <a:pt x="2704" y="2651"/>
                    <a:pt x="2704" y="2664"/>
                  </a:cubicBezTo>
                  <a:cubicBezTo>
                    <a:pt x="2704" y="2691"/>
                    <a:pt x="2704" y="2704"/>
                    <a:pt x="2704" y="2730"/>
                  </a:cubicBezTo>
                  <a:cubicBezTo>
                    <a:pt x="2704" y="2757"/>
                    <a:pt x="2684" y="2763"/>
                    <a:pt x="2671" y="2783"/>
                  </a:cubicBezTo>
                  <a:cubicBezTo>
                    <a:pt x="2651" y="2809"/>
                    <a:pt x="2638" y="2823"/>
                    <a:pt x="2618" y="2849"/>
                  </a:cubicBezTo>
                  <a:cubicBezTo>
                    <a:pt x="2572" y="2895"/>
                    <a:pt x="2552" y="2948"/>
                    <a:pt x="2493" y="2974"/>
                  </a:cubicBezTo>
                  <a:cubicBezTo>
                    <a:pt x="2434" y="3007"/>
                    <a:pt x="2387" y="3007"/>
                    <a:pt x="2354" y="3060"/>
                  </a:cubicBezTo>
                  <a:lnTo>
                    <a:pt x="2354" y="3060"/>
                  </a:lnTo>
                  <a:cubicBezTo>
                    <a:pt x="2308" y="3080"/>
                    <a:pt x="2275" y="3087"/>
                    <a:pt x="2242" y="3120"/>
                  </a:cubicBezTo>
                  <a:cubicBezTo>
                    <a:pt x="2216" y="3146"/>
                    <a:pt x="2216" y="3185"/>
                    <a:pt x="2183" y="3205"/>
                  </a:cubicBezTo>
                  <a:cubicBezTo>
                    <a:pt x="2150" y="3232"/>
                    <a:pt x="2124" y="3225"/>
                    <a:pt x="2084" y="3225"/>
                  </a:cubicBezTo>
                  <a:cubicBezTo>
                    <a:pt x="2038" y="3225"/>
                    <a:pt x="2011" y="3225"/>
                    <a:pt x="1965" y="3225"/>
                  </a:cubicBezTo>
                  <a:cubicBezTo>
                    <a:pt x="1932" y="3271"/>
                    <a:pt x="1913" y="3324"/>
                    <a:pt x="1853" y="3324"/>
                  </a:cubicBezTo>
                  <a:cubicBezTo>
                    <a:pt x="1787" y="3324"/>
                    <a:pt x="1754" y="3324"/>
                    <a:pt x="1688" y="3324"/>
                  </a:cubicBezTo>
                  <a:cubicBezTo>
                    <a:pt x="1642" y="3324"/>
                    <a:pt x="1629" y="3363"/>
                    <a:pt x="1583" y="3363"/>
                  </a:cubicBezTo>
                  <a:cubicBezTo>
                    <a:pt x="1517" y="3363"/>
                    <a:pt x="1477" y="3350"/>
                    <a:pt x="1411" y="3324"/>
                  </a:cubicBezTo>
                  <a:cubicBezTo>
                    <a:pt x="1372" y="3304"/>
                    <a:pt x="1345" y="3304"/>
                    <a:pt x="1312" y="3278"/>
                  </a:cubicBezTo>
                  <a:cubicBezTo>
                    <a:pt x="1286" y="3258"/>
                    <a:pt x="1273" y="3218"/>
                    <a:pt x="1240" y="3218"/>
                  </a:cubicBezTo>
                  <a:cubicBezTo>
                    <a:pt x="1174" y="3218"/>
                    <a:pt x="1141" y="3238"/>
                    <a:pt x="1081" y="3258"/>
                  </a:cubicBezTo>
                  <a:cubicBezTo>
                    <a:pt x="1062" y="3258"/>
                    <a:pt x="1042" y="3251"/>
                    <a:pt x="1022" y="3265"/>
                  </a:cubicBezTo>
                  <a:cubicBezTo>
                    <a:pt x="1002" y="3284"/>
                    <a:pt x="1009" y="3311"/>
                    <a:pt x="1009" y="3337"/>
                  </a:cubicBezTo>
                  <a:cubicBezTo>
                    <a:pt x="1009" y="3416"/>
                    <a:pt x="1088" y="3443"/>
                    <a:pt x="1088" y="3522"/>
                  </a:cubicBezTo>
                  <a:cubicBezTo>
                    <a:pt x="1088" y="3627"/>
                    <a:pt x="1029" y="3687"/>
                    <a:pt x="943" y="3753"/>
                  </a:cubicBezTo>
                  <a:cubicBezTo>
                    <a:pt x="910" y="3773"/>
                    <a:pt x="897" y="3799"/>
                    <a:pt x="864" y="3812"/>
                  </a:cubicBezTo>
                  <a:cubicBezTo>
                    <a:pt x="798" y="3845"/>
                    <a:pt x="765" y="3852"/>
                    <a:pt x="699" y="3878"/>
                  </a:cubicBezTo>
                  <a:cubicBezTo>
                    <a:pt x="659" y="3891"/>
                    <a:pt x="639" y="3911"/>
                    <a:pt x="600" y="3911"/>
                  </a:cubicBezTo>
                  <a:cubicBezTo>
                    <a:pt x="481" y="3911"/>
                    <a:pt x="461" y="3779"/>
                    <a:pt x="349" y="3739"/>
                  </a:cubicBezTo>
                  <a:cubicBezTo>
                    <a:pt x="283" y="3720"/>
                    <a:pt x="237" y="3720"/>
                    <a:pt x="171" y="3680"/>
                  </a:cubicBezTo>
                  <a:cubicBezTo>
                    <a:pt x="132" y="3654"/>
                    <a:pt x="112" y="3621"/>
                    <a:pt x="72" y="3594"/>
                  </a:cubicBezTo>
                  <a:lnTo>
                    <a:pt x="72" y="3594"/>
                  </a:lnTo>
                  <a:cubicBezTo>
                    <a:pt x="6" y="3390"/>
                    <a:pt x="6" y="3390"/>
                    <a:pt x="6" y="3390"/>
                  </a:cubicBezTo>
                  <a:cubicBezTo>
                    <a:pt x="26" y="3317"/>
                    <a:pt x="52" y="3278"/>
                    <a:pt x="52" y="3205"/>
                  </a:cubicBezTo>
                  <a:cubicBezTo>
                    <a:pt x="52" y="3152"/>
                    <a:pt x="6" y="3126"/>
                    <a:pt x="6" y="3073"/>
                  </a:cubicBezTo>
                  <a:cubicBezTo>
                    <a:pt x="6" y="3060"/>
                    <a:pt x="13" y="3053"/>
                    <a:pt x="13" y="3040"/>
                  </a:cubicBezTo>
                  <a:cubicBezTo>
                    <a:pt x="13" y="2994"/>
                    <a:pt x="0" y="2961"/>
                    <a:pt x="0" y="2915"/>
                  </a:cubicBezTo>
                  <a:cubicBezTo>
                    <a:pt x="0" y="2902"/>
                    <a:pt x="13" y="2902"/>
                    <a:pt x="20" y="2895"/>
                  </a:cubicBezTo>
                  <a:cubicBezTo>
                    <a:pt x="39" y="2889"/>
                    <a:pt x="46" y="2876"/>
                    <a:pt x="72" y="2876"/>
                  </a:cubicBezTo>
                  <a:cubicBezTo>
                    <a:pt x="85" y="2876"/>
                    <a:pt x="92" y="2876"/>
                    <a:pt x="105" y="2876"/>
                  </a:cubicBezTo>
                  <a:cubicBezTo>
                    <a:pt x="184" y="2546"/>
                    <a:pt x="184" y="2546"/>
                    <a:pt x="184" y="2546"/>
                  </a:cubicBezTo>
                  <a:cubicBezTo>
                    <a:pt x="191" y="2526"/>
                    <a:pt x="204" y="2519"/>
                    <a:pt x="204" y="2506"/>
                  </a:cubicBezTo>
                  <a:cubicBezTo>
                    <a:pt x="198" y="2453"/>
                    <a:pt x="204" y="2420"/>
                    <a:pt x="204" y="2374"/>
                  </a:cubicBezTo>
                  <a:cubicBezTo>
                    <a:pt x="204" y="2341"/>
                    <a:pt x="237" y="2328"/>
                    <a:pt x="257" y="2308"/>
                  </a:cubicBezTo>
                  <a:cubicBezTo>
                    <a:pt x="290" y="2275"/>
                    <a:pt x="330" y="2269"/>
                    <a:pt x="376" y="2269"/>
                  </a:cubicBezTo>
                  <a:cubicBezTo>
                    <a:pt x="409" y="2269"/>
                    <a:pt x="428" y="2282"/>
                    <a:pt x="461" y="2282"/>
                  </a:cubicBezTo>
                  <a:cubicBezTo>
                    <a:pt x="527" y="2282"/>
                    <a:pt x="560" y="2236"/>
                    <a:pt x="626" y="2236"/>
                  </a:cubicBezTo>
                  <a:cubicBezTo>
                    <a:pt x="633" y="2236"/>
                    <a:pt x="639" y="2236"/>
                    <a:pt x="653" y="2236"/>
                  </a:cubicBezTo>
                  <a:cubicBezTo>
                    <a:pt x="699" y="2203"/>
                    <a:pt x="712" y="2183"/>
                    <a:pt x="758" y="2150"/>
                  </a:cubicBezTo>
                  <a:cubicBezTo>
                    <a:pt x="778" y="2137"/>
                    <a:pt x="785" y="2124"/>
                    <a:pt x="811" y="2117"/>
                  </a:cubicBezTo>
                  <a:cubicBezTo>
                    <a:pt x="844" y="2104"/>
                    <a:pt x="877" y="2117"/>
                    <a:pt x="897" y="2091"/>
                  </a:cubicBezTo>
                  <a:cubicBezTo>
                    <a:pt x="917" y="2064"/>
                    <a:pt x="903" y="2044"/>
                    <a:pt x="923" y="2018"/>
                  </a:cubicBezTo>
                  <a:cubicBezTo>
                    <a:pt x="956" y="1979"/>
                    <a:pt x="989" y="1972"/>
                    <a:pt x="1042" y="1959"/>
                  </a:cubicBezTo>
                  <a:cubicBezTo>
                    <a:pt x="1075" y="1952"/>
                    <a:pt x="1088" y="1919"/>
                    <a:pt x="1114" y="1919"/>
                  </a:cubicBezTo>
                  <a:cubicBezTo>
                    <a:pt x="1174" y="1919"/>
                    <a:pt x="1207" y="1939"/>
                    <a:pt x="1266" y="1959"/>
                  </a:cubicBezTo>
                  <a:cubicBezTo>
                    <a:pt x="1312" y="1972"/>
                    <a:pt x="1345" y="1972"/>
                    <a:pt x="1391" y="1998"/>
                  </a:cubicBezTo>
                  <a:cubicBezTo>
                    <a:pt x="1424" y="2011"/>
                    <a:pt x="1438" y="2038"/>
                    <a:pt x="1477" y="2038"/>
                  </a:cubicBezTo>
                  <a:cubicBezTo>
                    <a:pt x="1550" y="2038"/>
                    <a:pt x="1576" y="1959"/>
                    <a:pt x="1589" y="1886"/>
                  </a:cubicBezTo>
                  <a:cubicBezTo>
                    <a:pt x="1589" y="1853"/>
                    <a:pt x="1603" y="1840"/>
                    <a:pt x="1603" y="1813"/>
                  </a:cubicBezTo>
                  <a:cubicBezTo>
                    <a:pt x="1603" y="1787"/>
                    <a:pt x="1603" y="1767"/>
                    <a:pt x="1603" y="1741"/>
                  </a:cubicBezTo>
                  <a:cubicBezTo>
                    <a:pt x="1603" y="1682"/>
                    <a:pt x="1536" y="1668"/>
                    <a:pt x="1510" y="1616"/>
                  </a:cubicBezTo>
                  <a:cubicBezTo>
                    <a:pt x="1497" y="1602"/>
                    <a:pt x="1504" y="1583"/>
                    <a:pt x="1504" y="1563"/>
                  </a:cubicBezTo>
                  <a:cubicBezTo>
                    <a:pt x="1504" y="1543"/>
                    <a:pt x="1504" y="1537"/>
                    <a:pt x="1504" y="1517"/>
                  </a:cubicBezTo>
                  <a:cubicBezTo>
                    <a:pt x="1504" y="1490"/>
                    <a:pt x="1510" y="1477"/>
                    <a:pt x="1510" y="1451"/>
                  </a:cubicBezTo>
                  <a:cubicBezTo>
                    <a:pt x="1510" y="1405"/>
                    <a:pt x="1550" y="1385"/>
                    <a:pt x="1583" y="1365"/>
                  </a:cubicBezTo>
                  <a:cubicBezTo>
                    <a:pt x="1603" y="1345"/>
                    <a:pt x="1609" y="1326"/>
                    <a:pt x="1616" y="1306"/>
                  </a:cubicBezTo>
                  <a:cubicBezTo>
                    <a:pt x="1622" y="1286"/>
                    <a:pt x="1635" y="1279"/>
                    <a:pt x="1642" y="1259"/>
                  </a:cubicBezTo>
                  <a:cubicBezTo>
                    <a:pt x="1668" y="1180"/>
                    <a:pt x="1695" y="1134"/>
                    <a:pt x="1695" y="1042"/>
                  </a:cubicBezTo>
                  <a:cubicBezTo>
                    <a:pt x="1695" y="989"/>
                    <a:pt x="1682" y="956"/>
                    <a:pt x="1655" y="916"/>
                  </a:cubicBezTo>
                  <a:cubicBezTo>
                    <a:pt x="1649" y="903"/>
                    <a:pt x="1629" y="903"/>
                    <a:pt x="1629" y="884"/>
                  </a:cubicBezTo>
                  <a:cubicBezTo>
                    <a:pt x="1629" y="844"/>
                    <a:pt x="1662" y="818"/>
                    <a:pt x="1662" y="771"/>
                  </a:cubicBezTo>
                  <a:cubicBezTo>
                    <a:pt x="1662" y="739"/>
                    <a:pt x="1655" y="719"/>
                    <a:pt x="1629" y="692"/>
                  </a:cubicBezTo>
                  <a:cubicBezTo>
                    <a:pt x="1629" y="679"/>
                    <a:pt x="1609" y="679"/>
                    <a:pt x="1609" y="672"/>
                  </a:cubicBezTo>
                  <a:cubicBezTo>
                    <a:pt x="1609" y="626"/>
                    <a:pt x="1655" y="613"/>
                    <a:pt x="1688" y="587"/>
                  </a:cubicBezTo>
                  <a:cubicBezTo>
                    <a:pt x="1721" y="554"/>
                    <a:pt x="1741" y="534"/>
                    <a:pt x="1754" y="488"/>
                  </a:cubicBezTo>
                  <a:cubicBezTo>
                    <a:pt x="1767" y="442"/>
                    <a:pt x="1774" y="415"/>
                    <a:pt x="1787" y="369"/>
                  </a:cubicBezTo>
                  <a:cubicBezTo>
                    <a:pt x="1800" y="336"/>
                    <a:pt x="1814" y="297"/>
                    <a:pt x="1847" y="297"/>
                  </a:cubicBezTo>
                  <a:cubicBezTo>
                    <a:pt x="1873" y="297"/>
                    <a:pt x="1879" y="316"/>
                    <a:pt x="1899" y="316"/>
                  </a:cubicBezTo>
                  <a:cubicBezTo>
                    <a:pt x="1952" y="316"/>
                    <a:pt x="1965" y="264"/>
                    <a:pt x="1992" y="231"/>
                  </a:cubicBezTo>
                  <a:cubicBezTo>
                    <a:pt x="2018" y="191"/>
                    <a:pt x="2058" y="185"/>
                    <a:pt x="2104" y="178"/>
                  </a:cubicBezTo>
                  <a:cubicBezTo>
                    <a:pt x="2137" y="178"/>
                    <a:pt x="2163" y="178"/>
                    <a:pt x="2190" y="158"/>
                  </a:cubicBezTo>
                  <a:cubicBezTo>
                    <a:pt x="2236" y="118"/>
                    <a:pt x="2229" y="59"/>
                    <a:pt x="2256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" name="Freeform 27"/>
            <p:cNvSpPr>
              <a:spLocks noChangeArrowheads="1"/>
            </p:cNvSpPr>
            <p:nvPr/>
          </p:nvSpPr>
          <p:spPr bwMode="auto">
            <a:xfrm>
              <a:off x="5553507" y="5675307"/>
              <a:ext cx="2108063" cy="1935162"/>
            </a:xfrm>
            <a:custGeom>
              <a:avLst/>
              <a:gdLst>
                <a:gd name="T0" fmla="*/ 5777 w 5857"/>
                <a:gd name="T1" fmla="*/ 1385 h 5375"/>
                <a:gd name="T2" fmla="*/ 5829 w 5857"/>
                <a:gd name="T3" fmla="*/ 1675 h 5375"/>
                <a:gd name="T4" fmla="*/ 5777 w 5857"/>
                <a:gd name="T5" fmla="*/ 1972 h 5375"/>
                <a:gd name="T6" fmla="*/ 5803 w 5857"/>
                <a:gd name="T7" fmla="*/ 2216 h 5375"/>
                <a:gd name="T8" fmla="*/ 5750 w 5857"/>
                <a:gd name="T9" fmla="*/ 2440 h 5375"/>
                <a:gd name="T10" fmla="*/ 5678 w 5857"/>
                <a:gd name="T11" fmla="*/ 2665 h 5375"/>
                <a:gd name="T12" fmla="*/ 5473 w 5857"/>
                <a:gd name="T13" fmla="*/ 3073 h 5375"/>
                <a:gd name="T14" fmla="*/ 5387 w 5857"/>
                <a:gd name="T15" fmla="*/ 3324 h 5375"/>
                <a:gd name="T16" fmla="*/ 5328 w 5857"/>
                <a:gd name="T17" fmla="*/ 3555 h 5375"/>
                <a:gd name="T18" fmla="*/ 5262 w 5857"/>
                <a:gd name="T19" fmla="*/ 3824 h 5375"/>
                <a:gd name="T20" fmla="*/ 5091 w 5857"/>
                <a:gd name="T21" fmla="*/ 4055 h 5375"/>
                <a:gd name="T22" fmla="*/ 4946 w 5857"/>
                <a:gd name="T23" fmla="*/ 4101 h 5375"/>
                <a:gd name="T24" fmla="*/ 4873 w 5857"/>
                <a:gd name="T25" fmla="*/ 4293 h 5375"/>
                <a:gd name="T26" fmla="*/ 4662 w 5857"/>
                <a:gd name="T27" fmla="*/ 4458 h 5375"/>
                <a:gd name="T28" fmla="*/ 4530 w 5857"/>
                <a:gd name="T29" fmla="*/ 4517 h 5375"/>
                <a:gd name="T30" fmla="*/ 4405 w 5857"/>
                <a:gd name="T31" fmla="*/ 4596 h 5375"/>
                <a:gd name="T32" fmla="*/ 4365 w 5857"/>
                <a:gd name="T33" fmla="*/ 4781 h 5375"/>
                <a:gd name="T34" fmla="*/ 4121 w 5857"/>
                <a:gd name="T35" fmla="*/ 5012 h 5375"/>
                <a:gd name="T36" fmla="*/ 4088 w 5857"/>
                <a:gd name="T37" fmla="*/ 5183 h 5375"/>
                <a:gd name="T38" fmla="*/ 4128 w 5857"/>
                <a:gd name="T39" fmla="*/ 5328 h 5375"/>
                <a:gd name="T40" fmla="*/ 3982 w 5857"/>
                <a:gd name="T41" fmla="*/ 5262 h 5375"/>
                <a:gd name="T42" fmla="*/ 3877 w 5857"/>
                <a:gd name="T43" fmla="*/ 5150 h 5375"/>
                <a:gd name="T44" fmla="*/ 3515 w 5857"/>
                <a:gd name="T45" fmla="*/ 5111 h 5375"/>
                <a:gd name="T46" fmla="*/ 3284 w 5857"/>
                <a:gd name="T47" fmla="*/ 5117 h 5375"/>
                <a:gd name="T48" fmla="*/ 3040 w 5857"/>
                <a:gd name="T49" fmla="*/ 5256 h 5375"/>
                <a:gd name="T50" fmla="*/ 2790 w 5857"/>
                <a:gd name="T51" fmla="*/ 5183 h 5375"/>
                <a:gd name="T52" fmla="*/ 2750 w 5857"/>
                <a:gd name="T53" fmla="*/ 5124 h 5375"/>
                <a:gd name="T54" fmla="*/ 2486 w 5857"/>
                <a:gd name="T55" fmla="*/ 5209 h 5375"/>
                <a:gd name="T56" fmla="*/ 2308 w 5857"/>
                <a:gd name="T57" fmla="*/ 5308 h 5375"/>
                <a:gd name="T58" fmla="*/ 2051 w 5857"/>
                <a:gd name="T59" fmla="*/ 5328 h 5375"/>
                <a:gd name="T60" fmla="*/ 1932 w 5857"/>
                <a:gd name="T61" fmla="*/ 5176 h 5375"/>
                <a:gd name="T62" fmla="*/ 1879 w 5857"/>
                <a:gd name="T63" fmla="*/ 5190 h 5375"/>
                <a:gd name="T64" fmla="*/ 1827 w 5857"/>
                <a:gd name="T65" fmla="*/ 5091 h 5375"/>
                <a:gd name="T66" fmla="*/ 1616 w 5857"/>
                <a:gd name="T67" fmla="*/ 4919 h 5375"/>
                <a:gd name="T68" fmla="*/ 1589 w 5857"/>
                <a:gd name="T69" fmla="*/ 4787 h 5375"/>
                <a:gd name="T70" fmla="*/ 1655 w 5857"/>
                <a:gd name="T71" fmla="*/ 4458 h 5375"/>
                <a:gd name="T72" fmla="*/ 1404 w 5857"/>
                <a:gd name="T73" fmla="*/ 4477 h 5375"/>
                <a:gd name="T74" fmla="*/ 521 w 5857"/>
                <a:gd name="T75" fmla="*/ 3884 h 5375"/>
                <a:gd name="T76" fmla="*/ 699 w 5857"/>
                <a:gd name="T77" fmla="*/ 3877 h 5375"/>
                <a:gd name="T78" fmla="*/ 732 w 5857"/>
                <a:gd name="T79" fmla="*/ 3528 h 5375"/>
                <a:gd name="T80" fmla="*/ 633 w 5857"/>
                <a:gd name="T81" fmla="*/ 3245 h 5375"/>
                <a:gd name="T82" fmla="*/ 455 w 5857"/>
                <a:gd name="T83" fmla="*/ 3080 h 5375"/>
                <a:gd name="T84" fmla="*/ 541 w 5857"/>
                <a:gd name="T85" fmla="*/ 2968 h 5375"/>
                <a:gd name="T86" fmla="*/ 837 w 5857"/>
                <a:gd name="T87" fmla="*/ 2533 h 5375"/>
                <a:gd name="T88" fmla="*/ 930 w 5857"/>
                <a:gd name="T89" fmla="*/ 2328 h 5375"/>
                <a:gd name="T90" fmla="*/ 857 w 5857"/>
                <a:gd name="T91" fmla="*/ 2137 h 5375"/>
                <a:gd name="T92" fmla="*/ 778 w 5857"/>
                <a:gd name="T93" fmla="*/ 1833 h 5375"/>
                <a:gd name="T94" fmla="*/ 560 w 5857"/>
                <a:gd name="T95" fmla="*/ 1781 h 5375"/>
                <a:gd name="T96" fmla="*/ 277 w 5857"/>
                <a:gd name="T97" fmla="*/ 1524 h 5375"/>
                <a:gd name="T98" fmla="*/ 171 w 5857"/>
                <a:gd name="T99" fmla="*/ 844 h 5375"/>
                <a:gd name="T100" fmla="*/ 1919 w 5857"/>
                <a:gd name="T101" fmla="*/ 659 h 5375"/>
                <a:gd name="T102" fmla="*/ 1985 w 5857"/>
                <a:gd name="T103" fmla="*/ 429 h 5375"/>
                <a:gd name="T104" fmla="*/ 2018 w 5857"/>
                <a:gd name="T105" fmla="*/ 283 h 5375"/>
                <a:gd name="T106" fmla="*/ 2236 w 5857"/>
                <a:gd name="T107" fmla="*/ 125 h 5375"/>
                <a:gd name="T108" fmla="*/ 2255 w 5857"/>
                <a:gd name="T109" fmla="*/ 409 h 5375"/>
                <a:gd name="T110" fmla="*/ 2335 w 5857"/>
                <a:gd name="T111" fmla="*/ 607 h 5375"/>
                <a:gd name="T112" fmla="*/ 2605 w 5857"/>
                <a:gd name="T113" fmla="*/ 897 h 5375"/>
                <a:gd name="T114" fmla="*/ 2724 w 5857"/>
                <a:gd name="T115" fmla="*/ 1029 h 5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857" h="5375">
                  <a:moveTo>
                    <a:pt x="5777" y="1385"/>
                  </a:moveTo>
                  <a:lnTo>
                    <a:pt x="5777" y="1385"/>
                  </a:lnTo>
                  <a:cubicBezTo>
                    <a:pt x="5816" y="1444"/>
                    <a:pt x="5856" y="1490"/>
                    <a:pt x="5856" y="1556"/>
                  </a:cubicBezTo>
                  <a:cubicBezTo>
                    <a:pt x="5856" y="1603"/>
                    <a:pt x="5836" y="1629"/>
                    <a:pt x="5829" y="1675"/>
                  </a:cubicBezTo>
                  <a:cubicBezTo>
                    <a:pt x="5816" y="1748"/>
                    <a:pt x="5829" y="1794"/>
                    <a:pt x="5803" y="1860"/>
                  </a:cubicBezTo>
                  <a:cubicBezTo>
                    <a:pt x="5790" y="1906"/>
                    <a:pt x="5777" y="1932"/>
                    <a:pt x="5777" y="1972"/>
                  </a:cubicBezTo>
                  <a:cubicBezTo>
                    <a:pt x="5777" y="2038"/>
                    <a:pt x="5803" y="2071"/>
                    <a:pt x="5803" y="2130"/>
                  </a:cubicBezTo>
                  <a:cubicBezTo>
                    <a:pt x="5803" y="2163"/>
                    <a:pt x="5803" y="2183"/>
                    <a:pt x="5803" y="2216"/>
                  </a:cubicBezTo>
                  <a:cubicBezTo>
                    <a:pt x="5803" y="2262"/>
                    <a:pt x="5790" y="2289"/>
                    <a:pt x="5777" y="2328"/>
                  </a:cubicBezTo>
                  <a:cubicBezTo>
                    <a:pt x="5757" y="2374"/>
                    <a:pt x="5764" y="2401"/>
                    <a:pt x="5750" y="2440"/>
                  </a:cubicBezTo>
                  <a:cubicBezTo>
                    <a:pt x="5717" y="2533"/>
                    <a:pt x="5697" y="2572"/>
                    <a:pt x="5678" y="2665"/>
                  </a:cubicBezTo>
                  <a:lnTo>
                    <a:pt x="5678" y="2665"/>
                  </a:lnTo>
                  <a:cubicBezTo>
                    <a:pt x="5598" y="2737"/>
                    <a:pt x="5592" y="2803"/>
                    <a:pt x="5559" y="2909"/>
                  </a:cubicBezTo>
                  <a:cubicBezTo>
                    <a:pt x="5539" y="2975"/>
                    <a:pt x="5500" y="3008"/>
                    <a:pt x="5473" y="3073"/>
                  </a:cubicBezTo>
                  <a:cubicBezTo>
                    <a:pt x="5460" y="3120"/>
                    <a:pt x="5460" y="3153"/>
                    <a:pt x="5434" y="3199"/>
                  </a:cubicBezTo>
                  <a:cubicBezTo>
                    <a:pt x="5407" y="3245"/>
                    <a:pt x="5407" y="3278"/>
                    <a:pt x="5387" y="3324"/>
                  </a:cubicBezTo>
                  <a:cubicBezTo>
                    <a:pt x="5374" y="3364"/>
                    <a:pt x="5341" y="3383"/>
                    <a:pt x="5335" y="3430"/>
                  </a:cubicBezTo>
                  <a:cubicBezTo>
                    <a:pt x="5328" y="3476"/>
                    <a:pt x="5335" y="3509"/>
                    <a:pt x="5328" y="3555"/>
                  </a:cubicBezTo>
                  <a:cubicBezTo>
                    <a:pt x="5308" y="3626"/>
                    <a:pt x="5262" y="3660"/>
                    <a:pt x="5262" y="3732"/>
                  </a:cubicBezTo>
                  <a:cubicBezTo>
                    <a:pt x="5262" y="3772"/>
                    <a:pt x="5262" y="3791"/>
                    <a:pt x="5262" y="3824"/>
                  </a:cubicBezTo>
                  <a:cubicBezTo>
                    <a:pt x="5262" y="3890"/>
                    <a:pt x="5196" y="3897"/>
                    <a:pt x="5176" y="3956"/>
                  </a:cubicBezTo>
                  <a:cubicBezTo>
                    <a:pt x="5157" y="4003"/>
                    <a:pt x="5143" y="4055"/>
                    <a:pt x="5091" y="4055"/>
                  </a:cubicBezTo>
                  <a:cubicBezTo>
                    <a:pt x="5058" y="4055"/>
                    <a:pt x="5044" y="4042"/>
                    <a:pt x="5018" y="4042"/>
                  </a:cubicBezTo>
                  <a:cubicBezTo>
                    <a:pt x="4979" y="4042"/>
                    <a:pt x="4965" y="4075"/>
                    <a:pt x="4946" y="4101"/>
                  </a:cubicBezTo>
                  <a:cubicBezTo>
                    <a:pt x="4899" y="4147"/>
                    <a:pt x="4860" y="4180"/>
                    <a:pt x="4860" y="4246"/>
                  </a:cubicBezTo>
                  <a:cubicBezTo>
                    <a:pt x="4860" y="4266"/>
                    <a:pt x="4873" y="4273"/>
                    <a:pt x="4873" y="4293"/>
                  </a:cubicBezTo>
                  <a:cubicBezTo>
                    <a:pt x="4873" y="4359"/>
                    <a:pt x="4853" y="4411"/>
                    <a:pt x="4800" y="4451"/>
                  </a:cubicBezTo>
                  <a:cubicBezTo>
                    <a:pt x="4761" y="4477"/>
                    <a:pt x="4715" y="4458"/>
                    <a:pt x="4662" y="4458"/>
                  </a:cubicBezTo>
                  <a:cubicBezTo>
                    <a:pt x="4629" y="4458"/>
                    <a:pt x="4609" y="4458"/>
                    <a:pt x="4576" y="4464"/>
                  </a:cubicBezTo>
                  <a:cubicBezTo>
                    <a:pt x="4550" y="4471"/>
                    <a:pt x="4550" y="4504"/>
                    <a:pt x="4530" y="4517"/>
                  </a:cubicBezTo>
                  <a:cubicBezTo>
                    <a:pt x="4510" y="4530"/>
                    <a:pt x="4497" y="4543"/>
                    <a:pt x="4477" y="4550"/>
                  </a:cubicBezTo>
                  <a:cubicBezTo>
                    <a:pt x="4444" y="4557"/>
                    <a:pt x="4405" y="4563"/>
                    <a:pt x="4405" y="4596"/>
                  </a:cubicBezTo>
                  <a:cubicBezTo>
                    <a:pt x="4405" y="4622"/>
                    <a:pt x="4405" y="4642"/>
                    <a:pt x="4405" y="4669"/>
                  </a:cubicBezTo>
                  <a:cubicBezTo>
                    <a:pt x="4405" y="4715"/>
                    <a:pt x="4385" y="4734"/>
                    <a:pt x="4365" y="4781"/>
                  </a:cubicBezTo>
                  <a:cubicBezTo>
                    <a:pt x="4352" y="4820"/>
                    <a:pt x="4345" y="4847"/>
                    <a:pt x="4312" y="4873"/>
                  </a:cubicBezTo>
                  <a:cubicBezTo>
                    <a:pt x="4240" y="4919"/>
                    <a:pt x="4174" y="4939"/>
                    <a:pt x="4121" y="5012"/>
                  </a:cubicBezTo>
                  <a:cubicBezTo>
                    <a:pt x="4095" y="5051"/>
                    <a:pt x="4062" y="5071"/>
                    <a:pt x="4062" y="5124"/>
                  </a:cubicBezTo>
                  <a:cubicBezTo>
                    <a:pt x="4062" y="5143"/>
                    <a:pt x="4075" y="5163"/>
                    <a:pt x="4088" y="5183"/>
                  </a:cubicBezTo>
                  <a:cubicBezTo>
                    <a:pt x="4108" y="5229"/>
                    <a:pt x="4121" y="5269"/>
                    <a:pt x="4128" y="5328"/>
                  </a:cubicBezTo>
                  <a:lnTo>
                    <a:pt x="4128" y="5328"/>
                  </a:lnTo>
                  <a:cubicBezTo>
                    <a:pt x="4088" y="5328"/>
                    <a:pt x="4075" y="5302"/>
                    <a:pt x="4035" y="5288"/>
                  </a:cubicBezTo>
                  <a:cubicBezTo>
                    <a:pt x="4015" y="5275"/>
                    <a:pt x="3996" y="5282"/>
                    <a:pt x="3982" y="5262"/>
                  </a:cubicBezTo>
                  <a:cubicBezTo>
                    <a:pt x="3956" y="5236"/>
                    <a:pt x="3969" y="5203"/>
                    <a:pt x="3956" y="5176"/>
                  </a:cubicBezTo>
                  <a:cubicBezTo>
                    <a:pt x="3943" y="5143"/>
                    <a:pt x="3910" y="5150"/>
                    <a:pt x="3877" y="5150"/>
                  </a:cubicBezTo>
                  <a:cubicBezTo>
                    <a:pt x="3778" y="5150"/>
                    <a:pt x="3725" y="5183"/>
                    <a:pt x="3621" y="5183"/>
                  </a:cubicBezTo>
                  <a:cubicBezTo>
                    <a:pt x="3575" y="5183"/>
                    <a:pt x="3528" y="5157"/>
                    <a:pt x="3515" y="5111"/>
                  </a:cubicBezTo>
                  <a:cubicBezTo>
                    <a:pt x="3449" y="5111"/>
                    <a:pt x="3416" y="5111"/>
                    <a:pt x="3350" y="5111"/>
                  </a:cubicBezTo>
                  <a:cubicBezTo>
                    <a:pt x="3324" y="5111"/>
                    <a:pt x="3311" y="5117"/>
                    <a:pt x="3284" y="5117"/>
                  </a:cubicBezTo>
                  <a:cubicBezTo>
                    <a:pt x="3245" y="5117"/>
                    <a:pt x="3218" y="5104"/>
                    <a:pt x="3179" y="5117"/>
                  </a:cubicBezTo>
                  <a:cubicBezTo>
                    <a:pt x="3106" y="5143"/>
                    <a:pt x="3113" y="5256"/>
                    <a:pt x="3040" y="5256"/>
                  </a:cubicBezTo>
                  <a:cubicBezTo>
                    <a:pt x="3014" y="5256"/>
                    <a:pt x="2994" y="5256"/>
                    <a:pt x="2968" y="5256"/>
                  </a:cubicBezTo>
                  <a:cubicBezTo>
                    <a:pt x="2895" y="5256"/>
                    <a:pt x="2849" y="5223"/>
                    <a:pt x="2790" y="5183"/>
                  </a:cubicBezTo>
                  <a:cubicBezTo>
                    <a:pt x="2783" y="5170"/>
                    <a:pt x="2770" y="5163"/>
                    <a:pt x="2763" y="5150"/>
                  </a:cubicBezTo>
                  <a:cubicBezTo>
                    <a:pt x="2757" y="5143"/>
                    <a:pt x="2763" y="5124"/>
                    <a:pt x="2750" y="5124"/>
                  </a:cubicBezTo>
                  <a:cubicBezTo>
                    <a:pt x="2684" y="5124"/>
                    <a:pt x="2651" y="5143"/>
                    <a:pt x="2592" y="5170"/>
                  </a:cubicBezTo>
                  <a:cubicBezTo>
                    <a:pt x="2552" y="5190"/>
                    <a:pt x="2513" y="5176"/>
                    <a:pt x="2486" y="5209"/>
                  </a:cubicBezTo>
                  <a:cubicBezTo>
                    <a:pt x="2466" y="5229"/>
                    <a:pt x="2480" y="5256"/>
                    <a:pt x="2453" y="5269"/>
                  </a:cubicBezTo>
                  <a:cubicBezTo>
                    <a:pt x="2407" y="5308"/>
                    <a:pt x="2361" y="5295"/>
                    <a:pt x="2308" y="5308"/>
                  </a:cubicBezTo>
                  <a:cubicBezTo>
                    <a:pt x="2262" y="5322"/>
                    <a:pt x="2249" y="5374"/>
                    <a:pt x="2196" y="5374"/>
                  </a:cubicBezTo>
                  <a:cubicBezTo>
                    <a:pt x="2137" y="5374"/>
                    <a:pt x="2097" y="5368"/>
                    <a:pt x="2051" y="5328"/>
                  </a:cubicBezTo>
                  <a:cubicBezTo>
                    <a:pt x="2011" y="5295"/>
                    <a:pt x="1998" y="5269"/>
                    <a:pt x="1972" y="5223"/>
                  </a:cubicBezTo>
                  <a:cubicBezTo>
                    <a:pt x="1965" y="5203"/>
                    <a:pt x="1952" y="5176"/>
                    <a:pt x="1932" y="5176"/>
                  </a:cubicBezTo>
                  <a:cubicBezTo>
                    <a:pt x="1912" y="5176"/>
                    <a:pt x="1899" y="5190"/>
                    <a:pt x="1879" y="5190"/>
                  </a:cubicBezTo>
                  <a:lnTo>
                    <a:pt x="1879" y="5190"/>
                  </a:lnTo>
                  <a:cubicBezTo>
                    <a:pt x="1873" y="5163"/>
                    <a:pt x="1873" y="5143"/>
                    <a:pt x="1860" y="5117"/>
                  </a:cubicBezTo>
                  <a:cubicBezTo>
                    <a:pt x="1853" y="5104"/>
                    <a:pt x="1840" y="5097"/>
                    <a:pt x="1827" y="5091"/>
                  </a:cubicBezTo>
                  <a:cubicBezTo>
                    <a:pt x="1774" y="5064"/>
                    <a:pt x="1741" y="5044"/>
                    <a:pt x="1688" y="5018"/>
                  </a:cubicBezTo>
                  <a:cubicBezTo>
                    <a:pt x="1642" y="4998"/>
                    <a:pt x="1635" y="4965"/>
                    <a:pt x="1616" y="4919"/>
                  </a:cubicBezTo>
                  <a:cubicBezTo>
                    <a:pt x="1609" y="4893"/>
                    <a:pt x="1589" y="4880"/>
                    <a:pt x="1589" y="4853"/>
                  </a:cubicBezTo>
                  <a:cubicBezTo>
                    <a:pt x="1589" y="4827"/>
                    <a:pt x="1589" y="4807"/>
                    <a:pt x="1589" y="4787"/>
                  </a:cubicBezTo>
                  <a:cubicBezTo>
                    <a:pt x="1589" y="4669"/>
                    <a:pt x="1688" y="4622"/>
                    <a:pt x="1688" y="4504"/>
                  </a:cubicBezTo>
                  <a:cubicBezTo>
                    <a:pt x="1688" y="4484"/>
                    <a:pt x="1682" y="4458"/>
                    <a:pt x="1655" y="4458"/>
                  </a:cubicBezTo>
                  <a:cubicBezTo>
                    <a:pt x="1589" y="4458"/>
                    <a:pt x="1556" y="4504"/>
                    <a:pt x="1484" y="4504"/>
                  </a:cubicBezTo>
                  <a:cubicBezTo>
                    <a:pt x="1451" y="4504"/>
                    <a:pt x="1438" y="4490"/>
                    <a:pt x="1404" y="4477"/>
                  </a:cubicBezTo>
                  <a:cubicBezTo>
                    <a:pt x="778" y="4464"/>
                    <a:pt x="778" y="4464"/>
                    <a:pt x="778" y="4464"/>
                  </a:cubicBezTo>
                  <a:cubicBezTo>
                    <a:pt x="521" y="3884"/>
                    <a:pt x="521" y="3884"/>
                    <a:pt x="521" y="3884"/>
                  </a:cubicBezTo>
                  <a:cubicBezTo>
                    <a:pt x="547" y="3884"/>
                    <a:pt x="560" y="3877"/>
                    <a:pt x="580" y="3877"/>
                  </a:cubicBezTo>
                  <a:cubicBezTo>
                    <a:pt x="626" y="3877"/>
                    <a:pt x="653" y="3877"/>
                    <a:pt x="699" y="3877"/>
                  </a:cubicBezTo>
                  <a:cubicBezTo>
                    <a:pt x="699" y="3831"/>
                    <a:pt x="699" y="3811"/>
                    <a:pt x="699" y="3765"/>
                  </a:cubicBezTo>
                  <a:cubicBezTo>
                    <a:pt x="699" y="3673"/>
                    <a:pt x="732" y="3620"/>
                    <a:pt x="732" y="3528"/>
                  </a:cubicBezTo>
                  <a:cubicBezTo>
                    <a:pt x="732" y="3469"/>
                    <a:pt x="679" y="3449"/>
                    <a:pt x="666" y="3397"/>
                  </a:cubicBezTo>
                  <a:cubicBezTo>
                    <a:pt x="646" y="3337"/>
                    <a:pt x="646" y="3304"/>
                    <a:pt x="633" y="3245"/>
                  </a:cubicBezTo>
                  <a:cubicBezTo>
                    <a:pt x="613" y="3186"/>
                    <a:pt x="573" y="3159"/>
                    <a:pt x="514" y="3126"/>
                  </a:cubicBezTo>
                  <a:cubicBezTo>
                    <a:pt x="494" y="3113"/>
                    <a:pt x="474" y="3093"/>
                    <a:pt x="455" y="3080"/>
                  </a:cubicBezTo>
                  <a:lnTo>
                    <a:pt x="455" y="3080"/>
                  </a:lnTo>
                  <a:cubicBezTo>
                    <a:pt x="474" y="3027"/>
                    <a:pt x="501" y="3014"/>
                    <a:pt x="541" y="2968"/>
                  </a:cubicBezTo>
                  <a:cubicBezTo>
                    <a:pt x="613" y="2869"/>
                    <a:pt x="659" y="2823"/>
                    <a:pt x="752" y="2730"/>
                  </a:cubicBezTo>
                  <a:cubicBezTo>
                    <a:pt x="811" y="2671"/>
                    <a:pt x="817" y="2618"/>
                    <a:pt x="837" y="2533"/>
                  </a:cubicBezTo>
                  <a:cubicBezTo>
                    <a:pt x="850" y="2480"/>
                    <a:pt x="864" y="2447"/>
                    <a:pt x="890" y="2394"/>
                  </a:cubicBezTo>
                  <a:cubicBezTo>
                    <a:pt x="903" y="2368"/>
                    <a:pt x="930" y="2354"/>
                    <a:pt x="930" y="2328"/>
                  </a:cubicBezTo>
                  <a:cubicBezTo>
                    <a:pt x="930" y="2295"/>
                    <a:pt x="916" y="2282"/>
                    <a:pt x="916" y="2249"/>
                  </a:cubicBezTo>
                  <a:cubicBezTo>
                    <a:pt x="897" y="2209"/>
                    <a:pt x="857" y="2190"/>
                    <a:pt x="857" y="2137"/>
                  </a:cubicBezTo>
                  <a:cubicBezTo>
                    <a:pt x="857" y="2078"/>
                    <a:pt x="923" y="2058"/>
                    <a:pt x="923" y="1992"/>
                  </a:cubicBezTo>
                  <a:cubicBezTo>
                    <a:pt x="923" y="1906"/>
                    <a:pt x="857" y="1867"/>
                    <a:pt x="778" y="1833"/>
                  </a:cubicBezTo>
                  <a:cubicBezTo>
                    <a:pt x="725" y="1807"/>
                    <a:pt x="692" y="1781"/>
                    <a:pt x="633" y="1781"/>
                  </a:cubicBezTo>
                  <a:cubicBezTo>
                    <a:pt x="606" y="1781"/>
                    <a:pt x="587" y="1781"/>
                    <a:pt x="560" y="1781"/>
                  </a:cubicBezTo>
                  <a:cubicBezTo>
                    <a:pt x="481" y="1781"/>
                    <a:pt x="428" y="1761"/>
                    <a:pt x="369" y="1701"/>
                  </a:cubicBezTo>
                  <a:cubicBezTo>
                    <a:pt x="316" y="1649"/>
                    <a:pt x="310" y="1596"/>
                    <a:pt x="277" y="1524"/>
                  </a:cubicBezTo>
                  <a:cubicBezTo>
                    <a:pt x="211" y="1378"/>
                    <a:pt x="171" y="1286"/>
                    <a:pt x="171" y="1128"/>
                  </a:cubicBezTo>
                  <a:cubicBezTo>
                    <a:pt x="171" y="1016"/>
                    <a:pt x="171" y="956"/>
                    <a:pt x="171" y="844"/>
                  </a:cubicBezTo>
                  <a:cubicBezTo>
                    <a:pt x="118" y="752"/>
                    <a:pt x="66" y="712"/>
                    <a:pt x="0" y="640"/>
                  </a:cubicBezTo>
                  <a:cubicBezTo>
                    <a:pt x="1919" y="659"/>
                    <a:pt x="1919" y="659"/>
                    <a:pt x="1919" y="659"/>
                  </a:cubicBezTo>
                  <a:cubicBezTo>
                    <a:pt x="1919" y="653"/>
                    <a:pt x="1919" y="646"/>
                    <a:pt x="1919" y="633"/>
                  </a:cubicBezTo>
                  <a:cubicBezTo>
                    <a:pt x="1919" y="547"/>
                    <a:pt x="1952" y="508"/>
                    <a:pt x="1985" y="429"/>
                  </a:cubicBezTo>
                  <a:cubicBezTo>
                    <a:pt x="1998" y="396"/>
                    <a:pt x="2031" y="382"/>
                    <a:pt x="2031" y="349"/>
                  </a:cubicBezTo>
                  <a:cubicBezTo>
                    <a:pt x="2031" y="323"/>
                    <a:pt x="2018" y="310"/>
                    <a:pt x="2018" y="283"/>
                  </a:cubicBezTo>
                  <a:cubicBezTo>
                    <a:pt x="2018" y="165"/>
                    <a:pt x="2064" y="99"/>
                    <a:pt x="2130" y="0"/>
                  </a:cubicBezTo>
                  <a:cubicBezTo>
                    <a:pt x="2170" y="46"/>
                    <a:pt x="2203" y="73"/>
                    <a:pt x="2236" y="125"/>
                  </a:cubicBezTo>
                  <a:cubicBezTo>
                    <a:pt x="2269" y="185"/>
                    <a:pt x="2308" y="218"/>
                    <a:pt x="2308" y="283"/>
                  </a:cubicBezTo>
                  <a:cubicBezTo>
                    <a:pt x="2308" y="336"/>
                    <a:pt x="2255" y="356"/>
                    <a:pt x="2255" y="409"/>
                  </a:cubicBezTo>
                  <a:cubicBezTo>
                    <a:pt x="2255" y="435"/>
                    <a:pt x="2275" y="448"/>
                    <a:pt x="2282" y="475"/>
                  </a:cubicBezTo>
                  <a:cubicBezTo>
                    <a:pt x="2301" y="528"/>
                    <a:pt x="2308" y="554"/>
                    <a:pt x="2335" y="607"/>
                  </a:cubicBezTo>
                  <a:cubicBezTo>
                    <a:pt x="2368" y="673"/>
                    <a:pt x="2381" y="745"/>
                    <a:pt x="2460" y="758"/>
                  </a:cubicBezTo>
                  <a:cubicBezTo>
                    <a:pt x="2532" y="772"/>
                    <a:pt x="2559" y="831"/>
                    <a:pt x="2605" y="897"/>
                  </a:cubicBezTo>
                  <a:cubicBezTo>
                    <a:pt x="2631" y="930"/>
                    <a:pt x="2664" y="936"/>
                    <a:pt x="2684" y="970"/>
                  </a:cubicBezTo>
                  <a:cubicBezTo>
                    <a:pt x="2704" y="989"/>
                    <a:pt x="2697" y="1022"/>
                    <a:pt x="2724" y="1029"/>
                  </a:cubicBezTo>
                  <a:cubicBezTo>
                    <a:pt x="5777" y="1385"/>
                    <a:pt x="5777" y="1385"/>
                    <a:pt x="5777" y="138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" name="Freeform 28"/>
            <p:cNvSpPr>
              <a:spLocks noChangeArrowheads="1"/>
            </p:cNvSpPr>
            <p:nvPr/>
          </p:nvSpPr>
          <p:spPr bwMode="auto">
            <a:xfrm>
              <a:off x="7596488" y="5327645"/>
              <a:ext cx="841320" cy="1546225"/>
            </a:xfrm>
            <a:custGeom>
              <a:avLst/>
              <a:gdLst>
                <a:gd name="T0" fmla="*/ 1055 w 2336"/>
                <a:gd name="T1" fmla="*/ 86 h 4295"/>
                <a:gd name="T2" fmla="*/ 1088 w 2336"/>
                <a:gd name="T3" fmla="*/ 171 h 4295"/>
                <a:gd name="T4" fmla="*/ 1134 w 2336"/>
                <a:gd name="T5" fmla="*/ 396 h 4295"/>
                <a:gd name="T6" fmla="*/ 1095 w 2336"/>
                <a:gd name="T7" fmla="*/ 574 h 4295"/>
                <a:gd name="T8" fmla="*/ 996 w 2336"/>
                <a:gd name="T9" fmla="*/ 778 h 4295"/>
                <a:gd name="T10" fmla="*/ 916 w 2336"/>
                <a:gd name="T11" fmla="*/ 838 h 4295"/>
                <a:gd name="T12" fmla="*/ 837 w 2336"/>
                <a:gd name="T13" fmla="*/ 963 h 4295"/>
                <a:gd name="T14" fmla="*/ 633 w 2336"/>
                <a:gd name="T15" fmla="*/ 1174 h 4295"/>
                <a:gd name="T16" fmla="*/ 646 w 2336"/>
                <a:gd name="T17" fmla="*/ 1484 h 4295"/>
                <a:gd name="T18" fmla="*/ 573 w 2336"/>
                <a:gd name="T19" fmla="*/ 1649 h 4295"/>
                <a:gd name="T20" fmla="*/ 521 w 2336"/>
                <a:gd name="T21" fmla="*/ 1787 h 4295"/>
                <a:gd name="T22" fmla="*/ 198 w 2336"/>
                <a:gd name="T23" fmla="*/ 2177 h 4295"/>
                <a:gd name="T24" fmla="*/ 99 w 2336"/>
                <a:gd name="T25" fmla="*/ 2348 h 4295"/>
                <a:gd name="T26" fmla="*/ 178 w 2336"/>
                <a:gd name="T27" fmla="*/ 2519 h 4295"/>
                <a:gd name="T28" fmla="*/ 125 w 2336"/>
                <a:gd name="T29" fmla="*/ 2823 h 4295"/>
                <a:gd name="T30" fmla="*/ 125 w 2336"/>
                <a:gd name="T31" fmla="*/ 3093 h 4295"/>
                <a:gd name="T32" fmla="*/ 99 w 2336"/>
                <a:gd name="T33" fmla="*/ 3291 h 4295"/>
                <a:gd name="T34" fmla="*/ 0 w 2336"/>
                <a:gd name="T35" fmla="*/ 3628 h 4295"/>
                <a:gd name="T36" fmla="*/ 125 w 2336"/>
                <a:gd name="T37" fmla="*/ 3687 h 4295"/>
                <a:gd name="T38" fmla="*/ 125 w 2336"/>
                <a:gd name="T39" fmla="*/ 3990 h 4295"/>
                <a:gd name="T40" fmla="*/ 514 w 2336"/>
                <a:gd name="T41" fmla="*/ 3839 h 4295"/>
                <a:gd name="T42" fmla="*/ 600 w 2336"/>
                <a:gd name="T43" fmla="*/ 4122 h 4295"/>
                <a:gd name="T44" fmla="*/ 672 w 2336"/>
                <a:gd name="T45" fmla="*/ 4142 h 4295"/>
                <a:gd name="T46" fmla="*/ 817 w 2336"/>
                <a:gd name="T47" fmla="*/ 4135 h 4295"/>
                <a:gd name="T48" fmla="*/ 956 w 2336"/>
                <a:gd name="T49" fmla="*/ 4149 h 4295"/>
                <a:gd name="T50" fmla="*/ 1180 w 2336"/>
                <a:gd name="T51" fmla="*/ 4294 h 4295"/>
                <a:gd name="T52" fmla="*/ 1279 w 2336"/>
                <a:gd name="T53" fmla="*/ 4201 h 4295"/>
                <a:gd name="T54" fmla="*/ 1457 w 2336"/>
                <a:gd name="T55" fmla="*/ 4267 h 4295"/>
                <a:gd name="T56" fmla="*/ 1748 w 2336"/>
                <a:gd name="T57" fmla="*/ 4175 h 4295"/>
                <a:gd name="T58" fmla="*/ 1906 w 2336"/>
                <a:gd name="T59" fmla="*/ 4063 h 4295"/>
                <a:gd name="T60" fmla="*/ 2064 w 2336"/>
                <a:gd name="T61" fmla="*/ 4056 h 4295"/>
                <a:gd name="T62" fmla="*/ 2064 w 2336"/>
                <a:gd name="T63" fmla="*/ 3786 h 4295"/>
                <a:gd name="T64" fmla="*/ 2084 w 2336"/>
                <a:gd name="T65" fmla="*/ 3568 h 4295"/>
                <a:gd name="T66" fmla="*/ 2097 w 2336"/>
                <a:gd name="T67" fmla="*/ 3370 h 4295"/>
                <a:gd name="T68" fmla="*/ 2077 w 2336"/>
                <a:gd name="T69" fmla="*/ 3205 h 4295"/>
                <a:gd name="T70" fmla="*/ 2150 w 2336"/>
                <a:gd name="T71" fmla="*/ 2994 h 4295"/>
                <a:gd name="T72" fmla="*/ 2269 w 2336"/>
                <a:gd name="T73" fmla="*/ 2757 h 4295"/>
                <a:gd name="T74" fmla="*/ 2308 w 2336"/>
                <a:gd name="T75" fmla="*/ 2651 h 4295"/>
                <a:gd name="T76" fmla="*/ 2223 w 2336"/>
                <a:gd name="T77" fmla="*/ 2645 h 4295"/>
                <a:gd name="T78" fmla="*/ 2018 w 2336"/>
                <a:gd name="T79" fmla="*/ 2315 h 4295"/>
                <a:gd name="T80" fmla="*/ 1827 w 2336"/>
                <a:gd name="T81" fmla="*/ 2064 h 4295"/>
                <a:gd name="T82" fmla="*/ 1827 w 2336"/>
                <a:gd name="T83" fmla="*/ 1886 h 4295"/>
                <a:gd name="T84" fmla="*/ 1873 w 2336"/>
                <a:gd name="T85" fmla="*/ 1741 h 4295"/>
                <a:gd name="T86" fmla="*/ 1985 w 2336"/>
                <a:gd name="T87" fmla="*/ 1642 h 4295"/>
                <a:gd name="T88" fmla="*/ 1754 w 2336"/>
                <a:gd name="T89" fmla="*/ 1550 h 4295"/>
                <a:gd name="T90" fmla="*/ 1602 w 2336"/>
                <a:gd name="T91" fmla="*/ 1293 h 4295"/>
                <a:gd name="T92" fmla="*/ 1471 w 2336"/>
                <a:gd name="T93" fmla="*/ 1108 h 4295"/>
                <a:gd name="T94" fmla="*/ 1405 w 2336"/>
                <a:gd name="T95" fmla="*/ 1036 h 4295"/>
                <a:gd name="T96" fmla="*/ 1510 w 2336"/>
                <a:gd name="T97" fmla="*/ 851 h 4295"/>
                <a:gd name="T98" fmla="*/ 1576 w 2336"/>
                <a:gd name="T99" fmla="*/ 587 h 4295"/>
                <a:gd name="T100" fmla="*/ 1616 w 2336"/>
                <a:gd name="T101" fmla="*/ 198 h 4295"/>
                <a:gd name="T102" fmla="*/ 1477 w 2336"/>
                <a:gd name="T103" fmla="*/ 26 h 4295"/>
                <a:gd name="T104" fmla="*/ 1339 w 2336"/>
                <a:gd name="T105" fmla="*/ 40 h 4295"/>
                <a:gd name="T106" fmla="*/ 1207 w 2336"/>
                <a:gd name="T107" fmla="*/ 7 h 4295"/>
                <a:gd name="T108" fmla="*/ 1055 w 2336"/>
                <a:gd name="T109" fmla="*/ 86 h 4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36" h="4295">
                  <a:moveTo>
                    <a:pt x="1055" y="86"/>
                  </a:moveTo>
                  <a:lnTo>
                    <a:pt x="1055" y="86"/>
                  </a:lnTo>
                  <a:cubicBezTo>
                    <a:pt x="1055" y="99"/>
                    <a:pt x="1042" y="112"/>
                    <a:pt x="1042" y="125"/>
                  </a:cubicBezTo>
                  <a:cubicBezTo>
                    <a:pt x="1042" y="145"/>
                    <a:pt x="1075" y="152"/>
                    <a:pt x="1088" y="171"/>
                  </a:cubicBezTo>
                  <a:cubicBezTo>
                    <a:pt x="1134" y="224"/>
                    <a:pt x="1180" y="264"/>
                    <a:pt x="1180" y="336"/>
                  </a:cubicBezTo>
                  <a:cubicBezTo>
                    <a:pt x="1180" y="363"/>
                    <a:pt x="1147" y="369"/>
                    <a:pt x="1134" y="396"/>
                  </a:cubicBezTo>
                  <a:cubicBezTo>
                    <a:pt x="1121" y="429"/>
                    <a:pt x="1134" y="455"/>
                    <a:pt x="1128" y="488"/>
                  </a:cubicBezTo>
                  <a:cubicBezTo>
                    <a:pt x="1121" y="528"/>
                    <a:pt x="1101" y="541"/>
                    <a:pt x="1095" y="574"/>
                  </a:cubicBezTo>
                  <a:cubicBezTo>
                    <a:pt x="1088" y="626"/>
                    <a:pt x="1081" y="666"/>
                    <a:pt x="1055" y="712"/>
                  </a:cubicBezTo>
                  <a:cubicBezTo>
                    <a:pt x="1042" y="745"/>
                    <a:pt x="1029" y="778"/>
                    <a:pt x="996" y="778"/>
                  </a:cubicBezTo>
                  <a:cubicBezTo>
                    <a:pt x="983" y="778"/>
                    <a:pt x="976" y="758"/>
                    <a:pt x="963" y="758"/>
                  </a:cubicBezTo>
                  <a:cubicBezTo>
                    <a:pt x="923" y="758"/>
                    <a:pt x="923" y="805"/>
                    <a:pt x="916" y="838"/>
                  </a:cubicBezTo>
                  <a:cubicBezTo>
                    <a:pt x="910" y="870"/>
                    <a:pt x="897" y="884"/>
                    <a:pt x="877" y="910"/>
                  </a:cubicBezTo>
                  <a:cubicBezTo>
                    <a:pt x="864" y="930"/>
                    <a:pt x="864" y="950"/>
                    <a:pt x="837" y="963"/>
                  </a:cubicBezTo>
                  <a:cubicBezTo>
                    <a:pt x="791" y="983"/>
                    <a:pt x="758" y="989"/>
                    <a:pt x="712" y="1016"/>
                  </a:cubicBezTo>
                  <a:cubicBezTo>
                    <a:pt x="659" y="1062"/>
                    <a:pt x="659" y="1108"/>
                    <a:pt x="633" y="1174"/>
                  </a:cubicBezTo>
                  <a:cubicBezTo>
                    <a:pt x="606" y="1240"/>
                    <a:pt x="541" y="1266"/>
                    <a:pt x="541" y="1339"/>
                  </a:cubicBezTo>
                  <a:cubicBezTo>
                    <a:pt x="541" y="1411"/>
                    <a:pt x="646" y="1411"/>
                    <a:pt x="646" y="1484"/>
                  </a:cubicBezTo>
                  <a:cubicBezTo>
                    <a:pt x="646" y="1530"/>
                    <a:pt x="646" y="1570"/>
                    <a:pt x="606" y="1603"/>
                  </a:cubicBezTo>
                  <a:cubicBezTo>
                    <a:pt x="593" y="1616"/>
                    <a:pt x="573" y="1629"/>
                    <a:pt x="573" y="1649"/>
                  </a:cubicBezTo>
                  <a:cubicBezTo>
                    <a:pt x="573" y="1675"/>
                    <a:pt x="573" y="1688"/>
                    <a:pt x="573" y="1715"/>
                  </a:cubicBezTo>
                  <a:cubicBezTo>
                    <a:pt x="573" y="1754"/>
                    <a:pt x="541" y="1761"/>
                    <a:pt x="521" y="1787"/>
                  </a:cubicBezTo>
                  <a:cubicBezTo>
                    <a:pt x="448" y="1886"/>
                    <a:pt x="356" y="1893"/>
                    <a:pt x="290" y="1998"/>
                  </a:cubicBezTo>
                  <a:cubicBezTo>
                    <a:pt x="250" y="2064"/>
                    <a:pt x="231" y="2104"/>
                    <a:pt x="198" y="2177"/>
                  </a:cubicBezTo>
                  <a:cubicBezTo>
                    <a:pt x="178" y="2209"/>
                    <a:pt x="158" y="2223"/>
                    <a:pt x="145" y="2262"/>
                  </a:cubicBezTo>
                  <a:cubicBezTo>
                    <a:pt x="132" y="2295"/>
                    <a:pt x="125" y="2322"/>
                    <a:pt x="99" y="2348"/>
                  </a:cubicBezTo>
                  <a:lnTo>
                    <a:pt x="99" y="2348"/>
                  </a:lnTo>
                  <a:cubicBezTo>
                    <a:pt x="138" y="2407"/>
                    <a:pt x="178" y="2453"/>
                    <a:pt x="178" y="2519"/>
                  </a:cubicBezTo>
                  <a:cubicBezTo>
                    <a:pt x="178" y="2566"/>
                    <a:pt x="158" y="2592"/>
                    <a:pt x="151" y="2638"/>
                  </a:cubicBezTo>
                  <a:cubicBezTo>
                    <a:pt x="138" y="2711"/>
                    <a:pt x="151" y="2757"/>
                    <a:pt x="125" y="2823"/>
                  </a:cubicBezTo>
                  <a:cubicBezTo>
                    <a:pt x="112" y="2869"/>
                    <a:pt x="99" y="2895"/>
                    <a:pt x="99" y="2935"/>
                  </a:cubicBezTo>
                  <a:cubicBezTo>
                    <a:pt x="99" y="3001"/>
                    <a:pt x="125" y="3034"/>
                    <a:pt x="125" y="3093"/>
                  </a:cubicBezTo>
                  <a:cubicBezTo>
                    <a:pt x="125" y="3126"/>
                    <a:pt x="125" y="3146"/>
                    <a:pt x="125" y="3179"/>
                  </a:cubicBezTo>
                  <a:cubicBezTo>
                    <a:pt x="125" y="3225"/>
                    <a:pt x="112" y="3252"/>
                    <a:pt x="99" y="3291"/>
                  </a:cubicBezTo>
                  <a:cubicBezTo>
                    <a:pt x="79" y="3337"/>
                    <a:pt x="86" y="3364"/>
                    <a:pt x="72" y="3403"/>
                  </a:cubicBezTo>
                  <a:cubicBezTo>
                    <a:pt x="39" y="3496"/>
                    <a:pt x="19" y="3535"/>
                    <a:pt x="0" y="3628"/>
                  </a:cubicBezTo>
                  <a:lnTo>
                    <a:pt x="0" y="3628"/>
                  </a:lnTo>
                  <a:cubicBezTo>
                    <a:pt x="125" y="3687"/>
                    <a:pt x="125" y="3687"/>
                    <a:pt x="125" y="3687"/>
                  </a:cubicBezTo>
                  <a:cubicBezTo>
                    <a:pt x="112" y="3773"/>
                    <a:pt x="26" y="3799"/>
                    <a:pt x="26" y="3891"/>
                  </a:cubicBezTo>
                  <a:cubicBezTo>
                    <a:pt x="26" y="3944"/>
                    <a:pt x="79" y="3971"/>
                    <a:pt x="125" y="3990"/>
                  </a:cubicBezTo>
                  <a:cubicBezTo>
                    <a:pt x="198" y="4017"/>
                    <a:pt x="237" y="4036"/>
                    <a:pt x="310" y="4036"/>
                  </a:cubicBezTo>
                  <a:cubicBezTo>
                    <a:pt x="422" y="4036"/>
                    <a:pt x="402" y="3839"/>
                    <a:pt x="514" y="3839"/>
                  </a:cubicBezTo>
                  <a:cubicBezTo>
                    <a:pt x="587" y="3839"/>
                    <a:pt x="626" y="3911"/>
                    <a:pt x="626" y="3977"/>
                  </a:cubicBezTo>
                  <a:cubicBezTo>
                    <a:pt x="626" y="4036"/>
                    <a:pt x="600" y="4063"/>
                    <a:pt x="600" y="4122"/>
                  </a:cubicBezTo>
                  <a:cubicBezTo>
                    <a:pt x="600" y="4149"/>
                    <a:pt x="606" y="4188"/>
                    <a:pt x="640" y="4188"/>
                  </a:cubicBezTo>
                  <a:cubicBezTo>
                    <a:pt x="659" y="4188"/>
                    <a:pt x="666" y="4162"/>
                    <a:pt x="672" y="4142"/>
                  </a:cubicBezTo>
                  <a:cubicBezTo>
                    <a:pt x="686" y="4116"/>
                    <a:pt x="699" y="4102"/>
                    <a:pt x="705" y="4076"/>
                  </a:cubicBezTo>
                  <a:cubicBezTo>
                    <a:pt x="752" y="4089"/>
                    <a:pt x="771" y="4135"/>
                    <a:pt x="817" y="4135"/>
                  </a:cubicBezTo>
                  <a:cubicBezTo>
                    <a:pt x="851" y="4135"/>
                    <a:pt x="851" y="4096"/>
                    <a:pt x="884" y="4096"/>
                  </a:cubicBezTo>
                  <a:cubicBezTo>
                    <a:pt x="916" y="4096"/>
                    <a:pt x="930" y="4122"/>
                    <a:pt x="956" y="4149"/>
                  </a:cubicBezTo>
                  <a:cubicBezTo>
                    <a:pt x="1002" y="4195"/>
                    <a:pt x="1042" y="4208"/>
                    <a:pt x="1095" y="4247"/>
                  </a:cubicBezTo>
                  <a:cubicBezTo>
                    <a:pt x="1121" y="4274"/>
                    <a:pt x="1141" y="4294"/>
                    <a:pt x="1180" y="4294"/>
                  </a:cubicBezTo>
                  <a:cubicBezTo>
                    <a:pt x="1200" y="4294"/>
                    <a:pt x="1200" y="4274"/>
                    <a:pt x="1207" y="4254"/>
                  </a:cubicBezTo>
                  <a:cubicBezTo>
                    <a:pt x="1227" y="4228"/>
                    <a:pt x="1246" y="4201"/>
                    <a:pt x="1279" y="4201"/>
                  </a:cubicBezTo>
                  <a:cubicBezTo>
                    <a:pt x="1332" y="4201"/>
                    <a:pt x="1345" y="4267"/>
                    <a:pt x="1398" y="4267"/>
                  </a:cubicBezTo>
                  <a:cubicBezTo>
                    <a:pt x="1418" y="4267"/>
                    <a:pt x="1431" y="4267"/>
                    <a:pt x="1457" y="4267"/>
                  </a:cubicBezTo>
                  <a:cubicBezTo>
                    <a:pt x="1517" y="4267"/>
                    <a:pt x="1543" y="4247"/>
                    <a:pt x="1596" y="4228"/>
                  </a:cubicBezTo>
                  <a:cubicBezTo>
                    <a:pt x="1655" y="4208"/>
                    <a:pt x="1701" y="4214"/>
                    <a:pt x="1748" y="4175"/>
                  </a:cubicBezTo>
                  <a:cubicBezTo>
                    <a:pt x="1781" y="4149"/>
                    <a:pt x="1767" y="4109"/>
                    <a:pt x="1794" y="4089"/>
                  </a:cubicBezTo>
                  <a:cubicBezTo>
                    <a:pt x="1827" y="4056"/>
                    <a:pt x="1860" y="4069"/>
                    <a:pt x="1906" y="4063"/>
                  </a:cubicBezTo>
                  <a:cubicBezTo>
                    <a:pt x="2064" y="4056"/>
                    <a:pt x="2064" y="4056"/>
                    <a:pt x="2064" y="4056"/>
                  </a:cubicBezTo>
                  <a:lnTo>
                    <a:pt x="2064" y="4056"/>
                  </a:lnTo>
                  <a:cubicBezTo>
                    <a:pt x="2051" y="4023"/>
                    <a:pt x="2051" y="3997"/>
                    <a:pt x="2051" y="3957"/>
                  </a:cubicBezTo>
                  <a:cubicBezTo>
                    <a:pt x="2051" y="3891"/>
                    <a:pt x="2064" y="3852"/>
                    <a:pt x="2064" y="3786"/>
                  </a:cubicBezTo>
                  <a:cubicBezTo>
                    <a:pt x="2064" y="3733"/>
                    <a:pt x="2038" y="3713"/>
                    <a:pt x="2038" y="3660"/>
                  </a:cubicBezTo>
                  <a:cubicBezTo>
                    <a:pt x="2038" y="3621"/>
                    <a:pt x="2084" y="3608"/>
                    <a:pt x="2084" y="3568"/>
                  </a:cubicBezTo>
                  <a:cubicBezTo>
                    <a:pt x="2084" y="3529"/>
                    <a:pt x="2044" y="3515"/>
                    <a:pt x="2044" y="3476"/>
                  </a:cubicBezTo>
                  <a:cubicBezTo>
                    <a:pt x="2044" y="3430"/>
                    <a:pt x="2097" y="3416"/>
                    <a:pt x="2097" y="3370"/>
                  </a:cubicBezTo>
                  <a:cubicBezTo>
                    <a:pt x="2097" y="3337"/>
                    <a:pt x="2038" y="3344"/>
                    <a:pt x="2038" y="3311"/>
                  </a:cubicBezTo>
                  <a:cubicBezTo>
                    <a:pt x="2038" y="3265"/>
                    <a:pt x="2064" y="3245"/>
                    <a:pt x="2077" y="3205"/>
                  </a:cubicBezTo>
                  <a:cubicBezTo>
                    <a:pt x="2097" y="3159"/>
                    <a:pt x="2091" y="3133"/>
                    <a:pt x="2104" y="3087"/>
                  </a:cubicBezTo>
                  <a:cubicBezTo>
                    <a:pt x="2117" y="3054"/>
                    <a:pt x="2137" y="3034"/>
                    <a:pt x="2150" y="2994"/>
                  </a:cubicBezTo>
                  <a:cubicBezTo>
                    <a:pt x="2170" y="2935"/>
                    <a:pt x="2170" y="2902"/>
                    <a:pt x="2196" y="2843"/>
                  </a:cubicBezTo>
                  <a:cubicBezTo>
                    <a:pt x="2209" y="2803"/>
                    <a:pt x="2229" y="2777"/>
                    <a:pt x="2269" y="2757"/>
                  </a:cubicBezTo>
                  <a:cubicBezTo>
                    <a:pt x="2295" y="2737"/>
                    <a:pt x="2335" y="2744"/>
                    <a:pt x="2335" y="2711"/>
                  </a:cubicBezTo>
                  <a:cubicBezTo>
                    <a:pt x="2335" y="2684"/>
                    <a:pt x="2308" y="2678"/>
                    <a:pt x="2308" y="2651"/>
                  </a:cubicBezTo>
                  <a:lnTo>
                    <a:pt x="2308" y="2651"/>
                  </a:lnTo>
                  <a:cubicBezTo>
                    <a:pt x="2275" y="2651"/>
                    <a:pt x="2262" y="2645"/>
                    <a:pt x="2223" y="2645"/>
                  </a:cubicBezTo>
                  <a:cubicBezTo>
                    <a:pt x="2137" y="2645"/>
                    <a:pt x="2084" y="2566"/>
                    <a:pt x="2064" y="2473"/>
                  </a:cubicBezTo>
                  <a:cubicBezTo>
                    <a:pt x="2051" y="2414"/>
                    <a:pt x="2051" y="2374"/>
                    <a:pt x="2018" y="2315"/>
                  </a:cubicBezTo>
                  <a:cubicBezTo>
                    <a:pt x="1978" y="2242"/>
                    <a:pt x="1952" y="2209"/>
                    <a:pt x="1899" y="2144"/>
                  </a:cubicBezTo>
                  <a:cubicBezTo>
                    <a:pt x="1873" y="2117"/>
                    <a:pt x="1860" y="2091"/>
                    <a:pt x="1827" y="2064"/>
                  </a:cubicBezTo>
                  <a:cubicBezTo>
                    <a:pt x="1794" y="2038"/>
                    <a:pt x="1754" y="2031"/>
                    <a:pt x="1754" y="1992"/>
                  </a:cubicBezTo>
                  <a:cubicBezTo>
                    <a:pt x="1754" y="1939"/>
                    <a:pt x="1794" y="1926"/>
                    <a:pt x="1827" y="1886"/>
                  </a:cubicBezTo>
                  <a:cubicBezTo>
                    <a:pt x="1853" y="1860"/>
                    <a:pt x="1853" y="1834"/>
                    <a:pt x="1860" y="1801"/>
                  </a:cubicBezTo>
                  <a:cubicBezTo>
                    <a:pt x="1860" y="1774"/>
                    <a:pt x="1860" y="1761"/>
                    <a:pt x="1873" y="1741"/>
                  </a:cubicBezTo>
                  <a:cubicBezTo>
                    <a:pt x="1899" y="1715"/>
                    <a:pt x="1939" y="1735"/>
                    <a:pt x="1965" y="1708"/>
                  </a:cubicBezTo>
                  <a:cubicBezTo>
                    <a:pt x="1978" y="1688"/>
                    <a:pt x="1985" y="1669"/>
                    <a:pt x="1985" y="1642"/>
                  </a:cubicBezTo>
                  <a:cubicBezTo>
                    <a:pt x="1985" y="1590"/>
                    <a:pt x="1965" y="1530"/>
                    <a:pt x="1919" y="1530"/>
                  </a:cubicBezTo>
                  <a:cubicBezTo>
                    <a:pt x="1853" y="1530"/>
                    <a:pt x="1820" y="1550"/>
                    <a:pt x="1754" y="1550"/>
                  </a:cubicBezTo>
                  <a:cubicBezTo>
                    <a:pt x="1708" y="1550"/>
                    <a:pt x="1695" y="1504"/>
                    <a:pt x="1682" y="1464"/>
                  </a:cubicBezTo>
                  <a:cubicBezTo>
                    <a:pt x="1662" y="1392"/>
                    <a:pt x="1649" y="1345"/>
                    <a:pt x="1602" y="1293"/>
                  </a:cubicBezTo>
                  <a:cubicBezTo>
                    <a:pt x="1563" y="1246"/>
                    <a:pt x="1543" y="1200"/>
                    <a:pt x="1490" y="1167"/>
                  </a:cubicBezTo>
                  <a:cubicBezTo>
                    <a:pt x="1471" y="1154"/>
                    <a:pt x="1484" y="1128"/>
                    <a:pt x="1471" y="1108"/>
                  </a:cubicBezTo>
                  <a:cubicBezTo>
                    <a:pt x="1464" y="1082"/>
                    <a:pt x="1438" y="1062"/>
                    <a:pt x="1411" y="1062"/>
                  </a:cubicBezTo>
                  <a:cubicBezTo>
                    <a:pt x="1405" y="1049"/>
                    <a:pt x="1405" y="1049"/>
                    <a:pt x="1405" y="1036"/>
                  </a:cubicBezTo>
                  <a:cubicBezTo>
                    <a:pt x="1405" y="989"/>
                    <a:pt x="1444" y="976"/>
                    <a:pt x="1471" y="937"/>
                  </a:cubicBezTo>
                  <a:cubicBezTo>
                    <a:pt x="1490" y="904"/>
                    <a:pt x="1490" y="877"/>
                    <a:pt x="1510" y="851"/>
                  </a:cubicBezTo>
                  <a:cubicBezTo>
                    <a:pt x="1543" y="805"/>
                    <a:pt x="1576" y="778"/>
                    <a:pt x="1576" y="725"/>
                  </a:cubicBezTo>
                  <a:cubicBezTo>
                    <a:pt x="1576" y="673"/>
                    <a:pt x="1576" y="640"/>
                    <a:pt x="1576" y="587"/>
                  </a:cubicBezTo>
                  <a:cubicBezTo>
                    <a:pt x="1576" y="514"/>
                    <a:pt x="1616" y="475"/>
                    <a:pt x="1616" y="402"/>
                  </a:cubicBezTo>
                  <a:cubicBezTo>
                    <a:pt x="1616" y="323"/>
                    <a:pt x="1616" y="277"/>
                    <a:pt x="1616" y="198"/>
                  </a:cubicBezTo>
                  <a:cubicBezTo>
                    <a:pt x="1616" y="132"/>
                    <a:pt x="1537" y="139"/>
                    <a:pt x="1477" y="99"/>
                  </a:cubicBezTo>
                  <a:cubicBezTo>
                    <a:pt x="1477" y="26"/>
                    <a:pt x="1477" y="26"/>
                    <a:pt x="1477" y="26"/>
                  </a:cubicBezTo>
                  <a:cubicBezTo>
                    <a:pt x="1471" y="0"/>
                    <a:pt x="1471" y="0"/>
                    <a:pt x="1471" y="0"/>
                  </a:cubicBezTo>
                  <a:cubicBezTo>
                    <a:pt x="1418" y="13"/>
                    <a:pt x="1391" y="40"/>
                    <a:pt x="1339" y="40"/>
                  </a:cubicBezTo>
                  <a:cubicBezTo>
                    <a:pt x="1306" y="40"/>
                    <a:pt x="1286" y="40"/>
                    <a:pt x="1253" y="26"/>
                  </a:cubicBezTo>
                  <a:cubicBezTo>
                    <a:pt x="1240" y="20"/>
                    <a:pt x="1227" y="7"/>
                    <a:pt x="1207" y="7"/>
                  </a:cubicBezTo>
                  <a:cubicBezTo>
                    <a:pt x="1174" y="7"/>
                    <a:pt x="1160" y="26"/>
                    <a:pt x="1134" y="40"/>
                  </a:cubicBezTo>
                  <a:cubicBezTo>
                    <a:pt x="1108" y="59"/>
                    <a:pt x="1081" y="72"/>
                    <a:pt x="1055" y="8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" name="Freeform 29"/>
            <p:cNvSpPr>
              <a:spLocks noChangeArrowheads="1"/>
            </p:cNvSpPr>
            <p:nvPr/>
          </p:nvSpPr>
          <p:spPr bwMode="auto">
            <a:xfrm>
              <a:off x="5013793" y="3367081"/>
              <a:ext cx="1027046" cy="1189038"/>
            </a:xfrm>
            <a:custGeom>
              <a:avLst/>
              <a:gdLst>
                <a:gd name="T0" fmla="*/ 574 w 2851"/>
                <a:gd name="T1" fmla="*/ 1510 h 3305"/>
                <a:gd name="T2" fmla="*/ 772 w 2851"/>
                <a:gd name="T3" fmla="*/ 1603 h 3305"/>
                <a:gd name="T4" fmla="*/ 944 w 2851"/>
                <a:gd name="T5" fmla="*/ 1932 h 3305"/>
                <a:gd name="T6" fmla="*/ 1135 w 2851"/>
                <a:gd name="T7" fmla="*/ 2163 h 3305"/>
                <a:gd name="T8" fmla="*/ 1148 w 2851"/>
                <a:gd name="T9" fmla="*/ 2315 h 3305"/>
                <a:gd name="T10" fmla="*/ 1181 w 2851"/>
                <a:gd name="T11" fmla="*/ 2553 h 3305"/>
                <a:gd name="T12" fmla="*/ 1280 w 2851"/>
                <a:gd name="T13" fmla="*/ 2797 h 3305"/>
                <a:gd name="T14" fmla="*/ 1359 w 2851"/>
                <a:gd name="T15" fmla="*/ 3140 h 3305"/>
                <a:gd name="T16" fmla="*/ 1570 w 2851"/>
                <a:gd name="T17" fmla="*/ 3285 h 3305"/>
                <a:gd name="T18" fmla="*/ 1669 w 2851"/>
                <a:gd name="T19" fmla="*/ 3140 h 3305"/>
                <a:gd name="T20" fmla="*/ 1775 w 2851"/>
                <a:gd name="T21" fmla="*/ 2935 h 3305"/>
                <a:gd name="T22" fmla="*/ 2098 w 2851"/>
                <a:gd name="T23" fmla="*/ 3001 h 3305"/>
                <a:gd name="T24" fmla="*/ 2210 w 2851"/>
                <a:gd name="T25" fmla="*/ 2849 h 3305"/>
                <a:gd name="T26" fmla="*/ 2388 w 2851"/>
                <a:gd name="T27" fmla="*/ 2730 h 3305"/>
                <a:gd name="T28" fmla="*/ 2645 w 2851"/>
                <a:gd name="T29" fmla="*/ 2546 h 3305"/>
                <a:gd name="T30" fmla="*/ 2850 w 2851"/>
                <a:gd name="T31" fmla="*/ 2559 h 3305"/>
                <a:gd name="T32" fmla="*/ 2790 w 2851"/>
                <a:gd name="T33" fmla="*/ 1893 h 3305"/>
                <a:gd name="T34" fmla="*/ 2639 w 2851"/>
                <a:gd name="T35" fmla="*/ 1695 h 3305"/>
                <a:gd name="T36" fmla="*/ 2586 w 2851"/>
                <a:gd name="T37" fmla="*/ 1477 h 3305"/>
                <a:gd name="T38" fmla="*/ 2461 w 2851"/>
                <a:gd name="T39" fmla="*/ 1286 h 3305"/>
                <a:gd name="T40" fmla="*/ 2474 w 2851"/>
                <a:gd name="T41" fmla="*/ 1022 h 3305"/>
                <a:gd name="T42" fmla="*/ 2494 w 2851"/>
                <a:gd name="T43" fmla="*/ 897 h 3305"/>
                <a:gd name="T44" fmla="*/ 2639 w 2851"/>
                <a:gd name="T45" fmla="*/ 640 h 3305"/>
                <a:gd name="T46" fmla="*/ 2513 w 2851"/>
                <a:gd name="T47" fmla="*/ 396 h 3305"/>
                <a:gd name="T48" fmla="*/ 2395 w 2851"/>
                <a:gd name="T49" fmla="*/ 165 h 3305"/>
                <a:gd name="T50" fmla="*/ 2368 w 2851"/>
                <a:gd name="T51" fmla="*/ 0 h 3305"/>
                <a:gd name="T52" fmla="*/ 2104 w 2851"/>
                <a:gd name="T53" fmla="*/ 13 h 3305"/>
                <a:gd name="T54" fmla="*/ 2078 w 2851"/>
                <a:gd name="T55" fmla="*/ 178 h 3305"/>
                <a:gd name="T56" fmla="*/ 1946 w 2851"/>
                <a:gd name="T57" fmla="*/ 297 h 3305"/>
                <a:gd name="T58" fmla="*/ 1735 w 2851"/>
                <a:gd name="T59" fmla="*/ 396 h 3305"/>
                <a:gd name="T60" fmla="*/ 1544 w 2851"/>
                <a:gd name="T61" fmla="*/ 488 h 3305"/>
                <a:gd name="T62" fmla="*/ 1227 w 2851"/>
                <a:gd name="T63" fmla="*/ 488 h 3305"/>
                <a:gd name="T64" fmla="*/ 858 w 2851"/>
                <a:gd name="T65" fmla="*/ 607 h 3305"/>
                <a:gd name="T66" fmla="*/ 495 w 2851"/>
                <a:gd name="T67" fmla="*/ 554 h 3305"/>
                <a:gd name="T68" fmla="*/ 198 w 2851"/>
                <a:gd name="T69" fmla="*/ 462 h 3305"/>
                <a:gd name="T70" fmla="*/ 0 w 2851"/>
                <a:gd name="T71" fmla="*/ 521 h 3305"/>
                <a:gd name="T72" fmla="*/ 139 w 2851"/>
                <a:gd name="T73" fmla="*/ 640 h 3305"/>
                <a:gd name="T74" fmla="*/ 310 w 2851"/>
                <a:gd name="T75" fmla="*/ 699 h 3305"/>
                <a:gd name="T76" fmla="*/ 244 w 2851"/>
                <a:gd name="T77" fmla="*/ 1022 h 3305"/>
                <a:gd name="T78" fmla="*/ 350 w 2851"/>
                <a:gd name="T79" fmla="*/ 1346 h 3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851" h="3305">
                  <a:moveTo>
                    <a:pt x="574" y="1510"/>
                  </a:moveTo>
                  <a:lnTo>
                    <a:pt x="574" y="1510"/>
                  </a:lnTo>
                  <a:cubicBezTo>
                    <a:pt x="627" y="1510"/>
                    <a:pt x="667" y="1517"/>
                    <a:pt x="706" y="1543"/>
                  </a:cubicBezTo>
                  <a:cubicBezTo>
                    <a:pt x="732" y="1563"/>
                    <a:pt x="765" y="1570"/>
                    <a:pt x="772" y="1603"/>
                  </a:cubicBezTo>
                  <a:cubicBezTo>
                    <a:pt x="798" y="1688"/>
                    <a:pt x="818" y="1728"/>
                    <a:pt x="845" y="1814"/>
                  </a:cubicBezTo>
                  <a:cubicBezTo>
                    <a:pt x="864" y="1867"/>
                    <a:pt x="897" y="1900"/>
                    <a:pt x="944" y="1932"/>
                  </a:cubicBezTo>
                  <a:cubicBezTo>
                    <a:pt x="983" y="1952"/>
                    <a:pt x="996" y="1979"/>
                    <a:pt x="1036" y="2005"/>
                  </a:cubicBezTo>
                  <a:cubicBezTo>
                    <a:pt x="1089" y="2051"/>
                    <a:pt x="1135" y="2091"/>
                    <a:pt x="1135" y="2163"/>
                  </a:cubicBezTo>
                  <a:cubicBezTo>
                    <a:pt x="1135" y="2190"/>
                    <a:pt x="1135" y="2210"/>
                    <a:pt x="1135" y="2236"/>
                  </a:cubicBezTo>
                  <a:cubicBezTo>
                    <a:pt x="1148" y="2315"/>
                    <a:pt x="1148" y="2315"/>
                    <a:pt x="1148" y="2315"/>
                  </a:cubicBezTo>
                  <a:cubicBezTo>
                    <a:pt x="1148" y="2355"/>
                    <a:pt x="1148" y="2374"/>
                    <a:pt x="1148" y="2414"/>
                  </a:cubicBezTo>
                  <a:cubicBezTo>
                    <a:pt x="1148" y="2473"/>
                    <a:pt x="1155" y="2506"/>
                    <a:pt x="1181" y="2553"/>
                  </a:cubicBezTo>
                  <a:cubicBezTo>
                    <a:pt x="1227" y="2612"/>
                    <a:pt x="1280" y="2645"/>
                    <a:pt x="1280" y="2724"/>
                  </a:cubicBezTo>
                  <a:cubicBezTo>
                    <a:pt x="1280" y="2750"/>
                    <a:pt x="1280" y="2764"/>
                    <a:pt x="1280" y="2797"/>
                  </a:cubicBezTo>
                  <a:cubicBezTo>
                    <a:pt x="1280" y="2896"/>
                    <a:pt x="1333" y="2942"/>
                    <a:pt x="1353" y="3041"/>
                  </a:cubicBezTo>
                  <a:cubicBezTo>
                    <a:pt x="1366" y="3080"/>
                    <a:pt x="1359" y="3100"/>
                    <a:pt x="1359" y="3140"/>
                  </a:cubicBezTo>
                  <a:cubicBezTo>
                    <a:pt x="1372" y="3205"/>
                    <a:pt x="1405" y="3258"/>
                    <a:pt x="1471" y="3265"/>
                  </a:cubicBezTo>
                  <a:cubicBezTo>
                    <a:pt x="1511" y="3271"/>
                    <a:pt x="1530" y="3278"/>
                    <a:pt x="1570" y="3285"/>
                  </a:cubicBezTo>
                  <a:cubicBezTo>
                    <a:pt x="1590" y="3291"/>
                    <a:pt x="1623" y="3304"/>
                    <a:pt x="1629" y="3285"/>
                  </a:cubicBezTo>
                  <a:cubicBezTo>
                    <a:pt x="1649" y="3232"/>
                    <a:pt x="1649" y="3192"/>
                    <a:pt x="1669" y="3140"/>
                  </a:cubicBezTo>
                  <a:cubicBezTo>
                    <a:pt x="1682" y="3093"/>
                    <a:pt x="1709" y="3067"/>
                    <a:pt x="1728" y="3021"/>
                  </a:cubicBezTo>
                  <a:cubicBezTo>
                    <a:pt x="1742" y="2988"/>
                    <a:pt x="1748" y="2961"/>
                    <a:pt x="1775" y="2935"/>
                  </a:cubicBezTo>
                  <a:cubicBezTo>
                    <a:pt x="1827" y="2882"/>
                    <a:pt x="1900" y="2882"/>
                    <a:pt x="1966" y="2915"/>
                  </a:cubicBezTo>
                  <a:cubicBezTo>
                    <a:pt x="2019" y="2935"/>
                    <a:pt x="2039" y="3001"/>
                    <a:pt x="2098" y="3001"/>
                  </a:cubicBezTo>
                  <a:cubicBezTo>
                    <a:pt x="2151" y="3001"/>
                    <a:pt x="2210" y="2981"/>
                    <a:pt x="2210" y="2928"/>
                  </a:cubicBezTo>
                  <a:cubicBezTo>
                    <a:pt x="2210" y="2896"/>
                    <a:pt x="2210" y="2882"/>
                    <a:pt x="2210" y="2849"/>
                  </a:cubicBezTo>
                  <a:cubicBezTo>
                    <a:pt x="2210" y="2816"/>
                    <a:pt x="2243" y="2803"/>
                    <a:pt x="2269" y="2790"/>
                  </a:cubicBezTo>
                  <a:cubicBezTo>
                    <a:pt x="2315" y="2777"/>
                    <a:pt x="2342" y="2750"/>
                    <a:pt x="2388" y="2730"/>
                  </a:cubicBezTo>
                  <a:cubicBezTo>
                    <a:pt x="2467" y="2691"/>
                    <a:pt x="2487" y="2651"/>
                    <a:pt x="2566" y="2599"/>
                  </a:cubicBezTo>
                  <a:cubicBezTo>
                    <a:pt x="2586" y="2572"/>
                    <a:pt x="2606" y="2546"/>
                    <a:pt x="2645" y="2546"/>
                  </a:cubicBezTo>
                  <a:cubicBezTo>
                    <a:pt x="2678" y="2546"/>
                    <a:pt x="2698" y="2546"/>
                    <a:pt x="2731" y="2546"/>
                  </a:cubicBezTo>
                  <a:cubicBezTo>
                    <a:pt x="2777" y="2546"/>
                    <a:pt x="2804" y="2546"/>
                    <a:pt x="2850" y="2559"/>
                  </a:cubicBezTo>
                  <a:cubicBezTo>
                    <a:pt x="2823" y="1952"/>
                    <a:pt x="2823" y="1952"/>
                    <a:pt x="2823" y="1952"/>
                  </a:cubicBezTo>
                  <a:cubicBezTo>
                    <a:pt x="2810" y="1939"/>
                    <a:pt x="2810" y="1913"/>
                    <a:pt x="2790" y="1893"/>
                  </a:cubicBezTo>
                  <a:cubicBezTo>
                    <a:pt x="2757" y="1873"/>
                    <a:pt x="2725" y="1873"/>
                    <a:pt x="2705" y="1847"/>
                  </a:cubicBezTo>
                  <a:cubicBezTo>
                    <a:pt x="2672" y="1794"/>
                    <a:pt x="2672" y="1754"/>
                    <a:pt x="2639" y="1695"/>
                  </a:cubicBezTo>
                  <a:cubicBezTo>
                    <a:pt x="2619" y="1649"/>
                    <a:pt x="2586" y="1622"/>
                    <a:pt x="2586" y="1570"/>
                  </a:cubicBezTo>
                  <a:cubicBezTo>
                    <a:pt x="2586" y="1537"/>
                    <a:pt x="2586" y="1517"/>
                    <a:pt x="2586" y="1477"/>
                  </a:cubicBezTo>
                  <a:cubicBezTo>
                    <a:pt x="2586" y="1431"/>
                    <a:pt x="2573" y="1398"/>
                    <a:pt x="2533" y="1372"/>
                  </a:cubicBezTo>
                  <a:cubicBezTo>
                    <a:pt x="2494" y="1352"/>
                    <a:pt x="2461" y="1332"/>
                    <a:pt x="2461" y="1286"/>
                  </a:cubicBezTo>
                  <a:cubicBezTo>
                    <a:pt x="2461" y="1260"/>
                    <a:pt x="2461" y="1240"/>
                    <a:pt x="2461" y="1214"/>
                  </a:cubicBezTo>
                  <a:cubicBezTo>
                    <a:pt x="2461" y="1141"/>
                    <a:pt x="2461" y="1095"/>
                    <a:pt x="2474" y="1022"/>
                  </a:cubicBezTo>
                  <a:cubicBezTo>
                    <a:pt x="2480" y="1003"/>
                    <a:pt x="2494" y="996"/>
                    <a:pt x="2494" y="983"/>
                  </a:cubicBezTo>
                  <a:cubicBezTo>
                    <a:pt x="2494" y="950"/>
                    <a:pt x="2494" y="930"/>
                    <a:pt x="2494" y="897"/>
                  </a:cubicBezTo>
                  <a:cubicBezTo>
                    <a:pt x="2494" y="831"/>
                    <a:pt x="2533" y="791"/>
                    <a:pt x="2533" y="725"/>
                  </a:cubicBezTo>
                  <a:cubicBezTo>
                    <a:pt x="2559" y="679"/>
                    <a:pt x="2593" y="646"/>
                    <a:pt x="2639" y="640"/>
                  </a:cubicBezTo>
                  <a:cubicBezTo>
                    <a:pt x="2639" y="593"/>
                    <a:pt x="2639" y="567"/>
                    <a:pt x="2639" y="514"/>
                  </a:cubicBezTo>
                  <a:cubicBezTo>
                    <a:pt x="2639" y="449"/>
                    <a:pt x="2559" y="449"/>
                    <a:pt x="2513" y="396"/>
                  </a:cubicBezTo>
                  <a:cubicBezTo>
                    <a:pt x="2467" y="343"/>
                    <a:pt x="2421" y="317"/>
                    <a:pt x="2355" y="310"/>
                  </a:cubicBezTo>
                  <a:cubicBezTo>
                    <a:pt x="2355" y="251"/>
                    <a:pt x="2368" y="218"/>
                    <a:pt x="2395" y="165"/>
                  </a:cubicBezTo>
                  <a:cubicBezTo>
                    <a:pt x="2408" y="125"/>
                    <a:pt x="2441" y="106"/>
                    <a:pt x="2441" y="59"/>
                  </a:cubicBezTo>
                  <a:cubicBezTo>
                    <a:pt x="2441" y="26"/>
                    <a:pt x="2401" y="0"/>
                    <a:pt x="2368" y="0"/>
                  </a:cubicBezTo>
                  <a:cubicBezTo>
                    <a:pt x="2269" y="0"/>
                    <a:pt x="2203" y="13"/>
                    <a:pt x="2104" y="13"/>
                  </a:cubicBezTo>
                  <a:lnTo>
                    <a:pt x="2104" y="13"/>
                  </a:lnTo>
                  <a:cubicBezTo>
                    <a:pt x="2118" y="53"/>
                    <a:pt x="2137" y="59"/>
                    <a:pt x="2137" y="92"/>
                  </a:cubicBezTo>
                  <a:cubicBezTo>
                    <a:pt x="2137" y="132"/>
                    <a:pt x="2111" y="152"/>
                    <a:pt x="2078" y="178"/>
                  </a:cubicBezTo>
                  <a:cubicBezTo>
                    <a:pt x="2045" y="218"/>
                    <a:pt x="2032" y="237"/>
                    <a:pt x="1992" y="270"/>
                  </a:cubicBezTo>
                  <a:cubicBezTo>
                    <a:pt x="1972" y="277"/>
                    <a:pt x="1966" y="297"/>
                    <a:pt x="1946" y="297"/>
                  </a:cubicBezTo>
                  <a:cubicBezTo>
                    <a:pt x="1893" y="297"/>
                    <a:pt x="1860" y="297"/>
                    <a:pt x="1801" y="297"/>
                  </a:cubicBezTo>
                  <a:cubicBezTo>
                    <a:pt x="1781" y="336"/>
                    <a:pt x="1761" y="356"/>
                    <a:pt x="1735" y="396"/>
                  </a:cubicBezTo>
                  <a:cubicBezTo>
                    <a:pt x="1709" y="435"/>
                    <a:pt x="1702" y="468"/>
                    <a:pt x="1656" y="488"/>
                  </a:cubicBezTo>
                  <a:cubicBezTo>
                    <a:pt x="1616" y="501"/>
                    <a:pt x="1590" y="488"/>
                    <a:pt x="1544" y="488"/>
                  </a:cubicBezTo>
                  <a:cubicBezTo>
                    <a:pt x="1491" y="488"/>
                    <a:pt x="1465" y="481"/>
                    <a:pt x="1405" y="481"/>
                  </a:cubicBezTo>
                  <a:cubicBezTo>
                    <a:pt x="1339" y="481"/>
                    <a:pt x="1293" y="488"/>
                    <a:pt x="1227" y="488"/>
                  </a:cubicBezTo>
                  <a:cubicBezTo>
                    <a:pt x="1122" y="488"/>
                    <a:pt x="1056" y="495"/>
                    <a:pt x="957" y="534"/>
                  </a:cubicBezTo>
                  <a:cubicBezTo>
                    <a:pt x="924" y="567"/>
                    <a:pt x="911" y="607"/>
                    <a:pt x="858" y="607"/>
                  </a:cubicBezTo>
                  <a:cubicBezTo>
                    <a:pt x="798" y="607"/>
                    <a:pt x="772" y="554"/>
                    <a:pt x="719" y="554"/>
                  </a:cubicBezTo>
                  <a:cubicBezTo>
                    <a:pt x="633" y="554"/>
                    <a:pt x="581" y="554"/>
                    <a:pt x="495" y="554"/>
                  </a:cubicBezTo>
                  <a:cubicBezTo>
                    <a:pt x="409" y="554"/>
                    <a:pt x="363" y="528"/>
                    <a:pt x="284" y="495"/>
                  </a:cubicBezTo>
                  <a:cubicBezTo>
                    <a:pt x="251" y="481"/>
                    <a:pt x="231" y="462"/>
                    <a:pt x="198" y="462"/>
                  </a:cubicBezTo>
                  <a:cubicBezTo>
                    <a:pt x="119" y="462"/>
                    <a:pt x="79" y="462"/>
                    <a:pt x="0" y="462"/>
                  </a:cubicBezTo>
                  <a:cubicBezTo>
                    <a:pt x="0" y="488"/>
                    <a:pt x="0" y="501"/>
                    <a:pt x="0" y="521"/>
                  </a:cubicBezTo>
                  <a:cubicBezTo>
                    <a:pt x="0" y="554"/>
                    <a:pt x="7" y="574"/>
                    <a:pt x="20" y="600"/>
                  </a:cubicBezTo>
                  <a:cubicBezTo>
                    <a:pt x="53" y="633"/>
                    <a:pt x="93" y="620"/>
                    <a:pt x="139" y="640"/>
                  </a:cubicBezTo>
                  <a:cubicBezTo>
                    <a:pt x="178" y="653"/>
                    <a:pt x="198" y="666"/>
                    <a:pt x="238" y="686"/>
                  </a:cubicBezTo>
                  <a:cubicBezTo>
                    <a:pt x="264" y="692"/>
                    <a:pt x="290" y="679"/>
                    <a:pt x="310" y="699"/>
                  </a:cubicBezTo>
                  <a:cubicBezTo>
                    <a:pt x="317" y="706"/>
                    <a:pt x="310" y="719"/>
                    <a:pt x="310" y="739"/>
                  </a:cubicBezTo>
                  <a:cubicBezTo>
                    <a:pt x="310" y="851"/>
                    <a:pt x="244" y="910"/>
                    <a:pt x="244" y="1022"/>
                  </a:cubicBezTo>
                  <a:cubicBezTo>
                    <a:pt x="244" y="1134"/>
                    <a:pt x="238" y="1214"/>
                    <a:pt x="304" y="1306"/>
                  </a:cubicBezTo>
                  <a:cubicBezTo>
                    <a:pt x="317" y="1326"/>
                    <a:pt x="337" y="1332"/>
                    <a:pt x="350" y="1346"/>
                  </a:cubicBezTo>
                  <a:cubicBezTo>
                    <a:pt x="429" y="1425"/>
                    <a:pt x="475" y="1464"/>
                    <a:pt x="574" y="151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" name="Freeform 30"/>
            <p:cNvSpPr>
              <a:spLocks noChangeArrowheads="1"/>
            </p:cNvSpPr>
            <p:nvPr/>
          </p:nvSpPr>
          <p:spPr bwMode="auto">
            <a:xfrm>
              <a:off x="6029727" y="3832220"/>
              <a:ext cx="2427130" cy="2341563"/>
            </a:xfrm>
            <a:custGeom>
              <a:avLst/>
              <a:gdLst>
                <a:gd name="T0" fmla="*/ 4340 w 6741"/>
                <a:gd name="T1" fmla="*/ 1609 h 6504"/>
                <a:gd name="T2" fmla="*/ 4260 w 6741"/>
                <a:gd name="T3" fmla="*/ 1629 h 6504"/>
                <a:gd name="T4" fmla="*/ 4379 w 6741"/>
                <a:gd name="T5" fmla="*/ 1457 h 6504"/>
                <a:gd name="T6" fmla="*/ 4333 w 6741"/>
                <a:gd name="T7" fmla="*/ 1536 h 6504"/>
                <a:gd name="T8" fmla="*/ 4260 w 6741"/>
                <a:gd name="T9" fmla="*/ 1504 h 6504"/>
                <a:gd name="T10" fmla="*/ 4874 w 6741"/>
                <a:gd name="T11" fmla="*/ 1504 h 6504"/>
                <a:gd name="T12" fmla="*/ 4999 w 6741"/>
                <a:gd name="T13" fmla="*/ 1523 h 6504"/>
                <a:gd name="T14" fmla="*/ 4801 w 6741"/>
                <a:gd name="T15" fmla="*/ 1444 h 6504"/>
                <a:gd name="T16" fmla="*/ 4610 w 6741"/>
                <a:gd name="T17" fmla="*/ 1273 h 6504"/>
                <a:gd name="T18" fmla="*/ 4524 w 6741"/>
                <a:gd name="T19" fmla="*/ 1398 h 6504"/>
                <a:gd name="T20" fmla="*/ 4801 w 6741"/>
                <a:gd name="T21" fmla="*/ 1523 h 6504"/>
                <a:gd name="T22" fmla="*/ 4775 w 6741"/>
                <a:gd name="T23" fmla="*/ 1523 h 6504"/>
                <a:gd name="T24" fmla="*/ 6609 w 6741"/>
                <a:gd name="T25" fmla="*/ 2480 h 6504"/>
                <a:gd name="T26" fmla="*/ 6516 w 6741"/>
                <a:gd name="T27" fmla="*/ 2915 h 6504"/>
                <a:gd name="T28" fmla="*/ 6325 w 6741"/>
                <a:gd name="T29" fmla="*/ 3238 h 6504"/>
                <a:gd name="T30" fmla="*/ 6186 w 6741"/>
                <a:gd name="T31" fmla="*/ 3502 h 6504"/>
                <a:gd name="T32" fmla="*/ 5949 w 6741"/>
                <a:gd name="T33" fmla="*/ 3792 h 6504"/>
                <a:gd name="T34" fmla="*/ 5507 w 6741"/>
                <a:gd name="T35" fmla="*/ 4056 h 6504"/>
                <a:gd name="T36" fmla="*/ 5441 w 6741"/>
                <a:gd name="T37" fmla="*/ 4326 h 6504"/>
                <a:gd name="T38" fmla="*/ 5448 w 6741"/>
                <a:gd name="T39" fmla="*/ 4729 h 6504"/>
                <a:gd name="T40" fmla="*/ 5269 w 6741"/>
                <a:gd name="T41" fmla="*/ 4993 h 6504"/>
                <a:gd name="T42" fmla="*/ 4986 w 6741"/>
                <a:gd name="T43" fmla="*/ 5329 h 6504"/>
                <a:gd name="T44" fmla="*/ 4926 w 6741"/>
                <a:gd name="T45" fmla="*/ 5804 h 6504"/>
                <a:gd name="T46" fmla="*/ 4551 w 6741"/>
                <a:gd name="T47" fmla="*/ 6332 h 6504"/>
                <a:gd name="T48" fmla="*/ 1399 w 6741"/>
                <a:gd name="T49" fmla="*/ 6147 h 6504"/>
                <a:gd name="T50" fmla="*/ 1010 w 6741"/>
                <a:gd name="T51" fmla="*/ 5725 h 6504"/>
                <a:gd name="T52" fmla="*/ 911 w 6741"/>
                <a:gd name="T53" fmla="*/ 5243 h 6504"/>
                <a:gd name="T54" fmla="*/ 812 w 6741"/>
                <a:gd name="T55" fmla="*/ 4999 h 6504"/>
                <a:gd name="T56" fmla="*/ 884 w 6741"/>
                <a:gd name="T57" fmla="*/ 4722 h 6504"/>
                <a:gd name="T58" fmla="*/ 1379 w 6741"/>
                <a:gd name="T59" fmla="*/ 2381 h 6504"/>
                <a:gd name="T60" fmla="*/ 990 w 6741"/>
                <a:gd name="T61" fmla="*/ 2176 h 6504"/>
                <a:gd name="T62" fmla="*/ 607 w 6741"/>
                <a:gd name="T63" fmla="*/ 2117 h 6504"/>
                <a:gd name="T64" fmla="*/ 370 w 6741"/>
                <a:gd name="T65" fmla="*/ 1833 h 6504"/>
                <a:gd name="T66" fmla="*/ 79 w 6741"/>
                <a:gd name="T67" fmla="*/ 1563 h 6504"/>
                <a:gd name="T68" fmla="*/ 0 w 6741"/>
                <a:gd name="T69" fmla="*/ 659 h 6504"/>
                <a:gd name="T70" fmla="*/ 271 w 6741"/>
                <a:gd name="T71" fmla="*/ 712 h 6504"/>
                <a:gd name="T72" fmla="*/ 660 w 6741"/>
                <a:gd name="T73" fmla="*/ 593 h 6504"/>
                <a:gd name="T74" fmla="*/ 1102 w 6741"/>
                <a:gd name="T75" fmla="*/ 369 h 6504"/>
                <a:gd name="T76" fmla="*/ 1353 w 6741"/>
                <a:gd name="T77" fmla="*/ 389 h 6504"/>
                <a:gd name="T78" fmla="*/ 1669 w 6741"/>
                <a:gd name="T79" fmla="*/ 409 h 6504"/>
                <a:gd name="T80" fmla="*/ 1662 w 6741"/>
                <a:gd name="T81" fmla="*/ 112 h 6504"/>
                <a:gd name="T82" fmla="*/ 2243 w 6741"/>
                <a:gd name="T83" fmla="*/ 46 h 6504"/>
                <a:gd name="T84" fmla="*/ 2342 w 6741"/>
                <a:gd name="T85" fmla="*/ 283 h 6504"/>
                <a:gd name="T86" fmla="*/ 2545 w 6741"/>
                <a:gd name="T87" fmla="*/ 738 h 6504"/>
                <a:gd name="T88" fmla="*/ 2789 w 6741"/>
                <a:gd name="T89" fmla="*/ 930 h 6504"/>
                <a:gd name="T90" fmla="*/ 3119 w 6741"/>
                <a:gd name="T91" fmla="*/ 1312 h 6504"/>
                <a:gd name="T92" fmla="*/ 3390 w 6741"/>
                <a:gd name="T93" fmla="*/ 1748 h 6504"/>
                <a:gd name="T94" fmla="*/ 3753 w 6741"/>
                <a:gd name="T95" fmla="*/ 2051 h 6504"/>
                <a:gd name="T96" fmla="*/ 3627 w 6741"/>
                <a:gd name="T97" fmla="*/ 2183 h 6504"/>
                <a:gd name="T98" fmla="*/ 3983 w 6741"/>
                <a:gd name="T99" fmla="*/ 2110 h 6504"/>
                <a:gd name="T100" fmla="*/ 4287 w 6741"/>
                <a:gd name="T101" fmla="*/ 2025 h 6504"/>
                <a:gd name="T102" fmla="*/ 4445 w 6741"/>
                <a:gd name="T103" fmla="*/ 1748 h 6504"/>
                <a:gd name="T104" fmla="*/ 5144 w 6741"/>
                <a:gd name="T105" fmla="*/ 1569 h 6504"/>
                <a:gd name="T106" fmla="*/ 5507 w 6741"/>
                <a:gd name="T107" fmla="*/ 1715 h 6504"/>
                <a:gd name="T108" fmla="*/ 5401 w 6741"/>
                <a:gd name="T109" fmla="*/ 2051 h 6504"/>
                <a:gd name="T110" fmla="*/ 4445 w 6741"/>
                <a:gd name="T111" fmla="*/ 2354 h 6504"/>
                <a:gd name="T112" fmla="*/ 4597 w 6741"/>
                <a:gd name="T113" fmla="*/ 2440 h 6504"/>
                <a:gd name="T114" fmla="*/ 5045 w 6741"/>
                <a:gd name="T115" fmla="*/ 2420 h 6504"/>
                <a:gd name="T116" fmla="*/ 4993 w 6741"/>
                <a:gd name="T117" fmla="*/ 2697 h 6504"/>
                <a:gd name="T118" fmla="*/ 5382 w 6741"/>
                <a:gd name="T119" fmla="*/ 2328 h 6504"/>
                <a:gd name="T120" fmla="*/ 5573 w 6741"/>
                <a:gd name="T121" fmla="*/ 2123 h 6504"/>
                <a:gd name="T122" fmla="*/ 5725 w 6741"/>
                <a:gd name="T123" fmla="*/ 1899 h 6504"/>
                <a:gd name="T124" fmla="*/ 6285 w 6741"/>
                <a:gd name="T125" fmla="*/ 1965 h 6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741" h="6504">
                  <a:moveTo>
                    <a:pt x="4353" y="1655"/>
                  </a:moveTo>
                  <a:lnTo>
                    <a:pt x="4353" y="1655"/>
                  </a:lnTo>
                  <a:cubicBezTo>
                    <a:pt x="4353" y="1616"/>
                    <a:pt x="4353" y="1616"/>
                    <a:pt x="4353" y="1616"/>
                  </a:cubicBezTo>
                  <a:cubicBezTo>
                    <a:pt x="4340" y="1609"/>
                    <a:pt x="4340" y="1609"/>
                    <a:pt x="4340" y="1609"/>
                  </a:cubicBezTo>
                  <a:cubicBezTo>
                    <a:pt x="4333" y="1596"/>
                    <a:pt x="4333" y="1596"/>
                    <a:pt x="4333" y="1596"/>
                  </a:cubicBezTo>
                  <a:lnTo>
                    <a:pt x="4333" y="1596"/>
                  </a:lnTo>
                  <a:cubicBezTo>
                    <a:pt x="4326" y="1596"/>
                    <a:pt x="4320" y="1589"/>
                    <a:pt x="4313" y="1589"/>
                  </a:cubicBezTo>
                  <a:cubicBezTo>
                    <a:pt x="4287" y="1589"/>
                    <a:pt x="4280" y="1616"/>
                    <a:pt x="4260" y="1629"/>
                  </a:cubicBezTo>
                  <a:cubicBezTo>
                    <a:pt x="4227" y="1655"/>
                    <a:pt x="4208" y="1668"/>
                    <a:pt x="4188" y="1708"/>
                  </a:cubicBezTo>
                  <a:cubicBezTo>
                    <a:pt x="4194" y="1708"/>
                    <a:pt x="4201" y="1708"/>
                    <a:pt x="4208" y="1708"/>
                  </a:cubicBezTo>
                  <a:cubicBezTo>
                    <a:pt x="4267" y="1708"/>
                    <a:pt x="4300" y="1688"/>
                    <a:pt x="4353" y="1655"/>
                  </a:cubicBezTo>
                  <a:close/>
                  <a:moveTo>
                    <a:pt x="4379" y="1457"/>
                  </a:moveTo>
                  <a:lnTo>
                    <a:pt x="4379" y="1457"/>
                  </a:lnTo>
                  <a:lnTo>
                    <a:pt x="4379" y="1457"/>
                  </a:lnTo>
                  <a:cubicBezTo>
                    <a:pt x="4399" y="1457"/>
                    <a:pt x="4432" y="1464"/>
                    <a:pt x="4432" y="1484"/>
                  </a:cubicBezTo>
                  <a:cubicBezTo>
                    <a:pt x="4432" y="1530"/>
                    <a:pt x="4372" y="1523"/>
                    <a:pt x="4333" y="1536"/>
                  </a:cubicBezTo>
                  <a:cubicBezTo>
                    <a:pt x="4293" y="1550"/>
                    <a:pt x="4273" y="1563"/>
                    <a:pt x="4241" y="1596"/>
                  </a:cubicBezTo>
                  <a:cubicBezTo>
                    <a:pt x="4227" y="1609"/>
                    <a:pt x="4227" y="1629"/>
                    <a:pt x="4208" y="1629"/>
                  </a:cubicBezTo>
                  <a:cubicBezTo>
                    <a:pt x="4188" y="1629"/>
                    <a:pt x="4175" y="1622"/>
                    <a:pt x="4175" y="1609"/>
                  </a:cubicBezTo>
                  <a:cubicBezTo>
                    <a:pt x="4175" y="1556"/>
                    <a:pt x="4221" y="1536"/>
                    <a:pt x="4260" y="1504"/>
                  </a:cubicBezTo>
                  <a:cubicBezTo>
                    <a:pt x="4307" y="1471"/>
                    <a:pt x="4333" y="1457"/>
                    <a:pt x="4379" y="1457"/>
                  </a:cubicBezTo>
                  <a:close/>
                  <a:moveTo>
                    <a:pt x="4920" y="1471"/>
                  </a:moveTo>
                  <a:lnTo>
                    <a:pt x="4920" y="1471"/>
                  </a:lnTo>
                  <a:cubicBezTo>
                    <a:pt x="4894" y="1471"/>
                    <a:pt x="4887" y="1490"/>
                    <a:pt x="4874" y="1504"/>
                  </a:cubicBezTo>
                  <a:cubicBezTo>
                    <a:pt x="4867" y="1510"/>
                    <a:pt x="4854" y="1517"/>
                    <a:pt x="4854" y="1523"/>
                  </a:cubicBezTo>
                  <a:cubicBezTo>
                    <a:pt x="4854" y="1556"/>
                    <a:pt x="4887" y="1583"/>
                    <a:pt x="4920" y="1583"/>
                  </a:cubicBezTo>
                  <a:cubicBezTo>
                    <a:pt x="4940" y="1583"/>
                    <a:pt x="4953" y="1563"/>
                    <a:pt x="4973" y="1550"/>
                  </a:cubicBezTo>
                  <a:cubicBezTo>
                    <a:pt x="4986" y="1550"/>
                    <a:pt x="4999" y="1543"/>
                    <a:pt x="4999" y="1523"/>
                  </a:cubicBezTo>
                  <a:cubicBezTo>
                    <a:pt x="4999" y="1484"/>
                    <a:pt x="4959" y="1471"/>
                    <a:pt x="4920" y="1471"/>
                  </a:cubicBezTo>
                  <a:close/>
                  <a:moveTo>
                    <a:pt x="4801" y="1523"/>
                  </a:moveTo>
                  <a:lnTo>
                    <a:pt x="4801" y="1523"/>
                  </a:lnTo>
                  <a:cubicBezTo>
                    <a:pt x="4801" y="1490"/>
                    <a:pt x="4801" y="1471"/>
                    <a:pt x="4801" y="1444"/>
                  </a:cubicBezTo>
                  <a:cubicBezTo>
                    <a:pt x="4801" y="1418"/>
                    <a:pt x="4808" y="1398"/>
                    <a:pt x="4788" y="1378"/>
                  </a:cubicBezTo>
                  <a:cubicBezTo>
                    <a:pt x="4768" y="1352"/>
                    <a:pt x="4742" y="1358"/>
                    <a:pt x="4709" y="1345"/>
                  </a:cubicBezTo>
                  <a:cubicBezTo>
                    <a:pt x="4669" y="1325"/>
                    <a:pt x="4650" y="1292"/>
                    <a:pt x="4610" y="1273"/>
                  </a:cubicBezTo>
                  <a:lnTo>
                    <a:pt x="4610" y="1273"/>
                  </a:lnTo>
                  <a:cubicBezTo>
                    <a:pt x="4590" y="1260"/>
                    <a:pt x="4577" y="1240"/>
                    <a:pt x="4551" y="1240"/>
                  </a:cubicBezTo>
                  <a:cubicBezTo>
                    <a:pt x="4531" y="1240"/>
                    <a:pt x="4531" y="1260"/>
                    <a:pt x="4524" y="1279"/>
                  </a:cubicBezTo>
                  <a:cubicBezTo>
                    <a:pt x="4511" y="1299"/>
                    <a:pt x="4485" y="1306"/>
                    <a:pt x="4485" y="1325"/>
                  </a:cubicBezTo>
                  <a:cubicBezTo>
                    <a:pt x="4485" y="1358"/>
                    <a:pt x="4518" y="1372"/>
                    <a:pt x="4524" y="1398"/>
                  </a:cubicBezTo>
                  <a:cubicBezTo>
                    <a:pt x="4537" y="1424"/>
                    <a:pt x="4537" y="1451"/>
                    <a:pt x="4557" y="1477"/>
                  </a:cubicBezTo>
                  <a:cubicBezTo>
                    <a:pt x="4590" y="1504"/>
                    <a:pt x="4623" y="1490"/>
                    <a:pt x="4669" y="1504"/>
                  </a:cubicBezTo>
                  <a:cubicBezTo>
                    <a:pt x="4709" y="1510"/>
                    <a:pt x="4735" y="1517"/>
                    <a:pt x="4775" y="1523"/>
                  </a:cubicBezTo>
                  <a:cubicBezTo>
                    <a:pt x="4801" y="1523"/>
                    <a:pt x="4801" y="1523"/>
                    <a:pt x="4801" y="1523"/>
                  </a:cubicBezTo>
                  <a:close/>
                  <a:moveTo>
                    <a:pt x="4775" y="1523"/>
                  </a:moveTo>
                  <a:lnTo>
                    <a:pt x="4775" y="1523"/>
                  </a:lnTo>
                  <a:cubicBezTo>
                    <a:pt x="4801" y="1523"/>
                    <a:pt x="4801" y="1523"/>
                    <a:pt x="4801" y="1523"/>
                  </a:cubicBezTo>
                  <a:cubicBezTo>
                    <a:pt x="4775" y="1523"/>
                    <a:pt x="4775" y="1523"/>
                    <a:pt x="4775" y="1523"/>
                  </a:cubicBezTo>
                  <a:close/>
                  <a:moveTo>
                    <a:pt x="6740" y="2137"/>
                  </a:moveTo>
                  <a:lnTo>
                    <a:pt x="6740" y="2137"/>
                  </a:lnTo>
                  <a:cubicBezTo>
                    <a:pt x="6708" y="2236"/>
                    <a:pt x="6701" y="2288"/>
                    <a:pt x="6668" y="2381"/>
                  </a:cubicBezTo>
                  <a:cubicBezTo>
                    <a:pt x="6648" y="2420"/>
                    <a:pt x="6609" y="2433"/>
                    <a:pt x="6609" y="2480"/>
                  </a:cubicBezTo>
                  <a:cubicBezTo>
                    <a:pt x="6609" y="2506"/>
                    <a:pt x="6641" y="2506"/>
                    <a:pt x="6648" y="2532"/>
                  </a:cubicBezTo>
                  <a:cubicBezTo>
                    <a:pt x="6661" y="2552"/>
                    <a:pt x="6655" y="2565"/>
                    <a:pt x="6655" y="2585"/>
                  </a:cubicBezTo>
                  <a:cubicBezTo>
                    <a:pt x="6655" y="2645"/>
                    <a:pt x="6615" y="2664"/>
                    <a:pt x="6595" y="2717"/>
                  </a:cubicBezTo>
                  <a:cubicBezTo>
                    <a:pt x="6556" y="2790"/>
                    <a:pt x="6562" y="2849"/>
                    <a:pt x="6516" y="2915"/>
                  </a:cubicBezTo>
                  <a:cubicBezTo>
                    <a:pt x="6490" y="2948"/>
                    <a:pt x="6457" y="2948"/>
                    <a:pt x="6424" y="2974"/>
                  </a:cubicBezTo>
                  <a:cubicBezTo>
                    <a:pt x="6397" y="2994"/>
                    <a:pt x="6404" y="3020"/>
                    <a:pt x="6391" y="3054"/>
                  </a:cubicBezTo>
                  <a:cubicBezTo>
                    <a:pt x="6371" y="3086"/>
                    <a:pt x="6365" y="3113"/>
                    <a:pt x="6351" y="3152"/>
                  </a:cubicBezTo>
                  <a:cubicBezTo>
                    <a:pt x="6338" y="3185"/>
                    <a:pt x="6338" y="3205"/>
                    <a:pt x="6325" y="3238"/>
                  </a:cubicBezTo>
                  <a:cubicBezTo>
                    <a:pt x="6312" y="3265"/>
                    <a:pt x="6292" y="3271"/>
                    <a:pt x="6292" y="3298"/>
                  </a:cubicBezTo>
                  <a:cubicBezTo>
                    <a:pt x="6292" y="3311"/>
                    <a:pt x="6298" y="3317"/>
                    <a:pt x="6298" y="3337"/>
                  </a:cubicBezTo>
                  <a:cubicBezTo>
                    <a:pt x="6298" y="3377"/>
                    <a:pt x="6252" y="3390"/>
                    <a:pt x="6226" y="3423"/>
                  </a:cubicBezTo>
                  <a:cubicBezTo>
                    <a:pt x="6206" y="3449"/>
                    <a:pt x="6199" y="3469"/>
                    <a:pt x="6186" y="3502"/>
                  </a:cubicBezTo>
                  <a:cubicBezTo>
                    <a:pt x="6153" y="3561"/>
                    <a:pt x="6160" y="3614"/>
                    <a:pt x="6101" y="3654"/>
                  </a:cubicBezTo>
                  <a:cubicBezTo>
                    <a:pt x="6081" y="3660"/>
                    <a:pt x="6068" y="3660"/>
                    <a:pt x="6048" y="3667"/>
                  </a:cubicBezTo>
                  <a:cubicBezTo>
                    <a:pt x="6008" y="3687"/>
                    <a:pt x="6002" y="3720"/>
                    <a:pt x="5975" y="3746"/>
                  </a:cubicBezTo>
                  <a:cubicBezTo>
                    <a:pt x="5955" y="3759"/>
                    <a:pt x="5962" y="3779"/>
                    <a:pt x="5949" y="3792"/>
                  </a:cubicBezTo>
                  <a:cubicBezTo>
                    <a:pt x="5923" y="3819"/>
                    <a:pt x="5909" y="3832"/>
                    <a:pt x="5870" y="3845"/>
                  </a:cubicBezTo>
                  <a:cubicBezTo>
                    <a:pt x="5850" y="3852"/>
                    <a:pt x="5843" y="3871"/>
                    <a:pt x="5817" y="3871"/>
                  </a:cubicBezTo>
                  <a:cubicBezTo>
                    <a:pt x="5804" y="3871"/>
                    <a:pt x="5797" y="3865"/>
                    <a:pt x="5777" y="3865"/>
                  </a:cubicBezTo>
                  <a:cubicBezTo>
                    <a:pt x="5652" y="3865"/>
                    <a:pt x="5580" y="3944"/>
                    <a:pt x="5507" y="4056"/>
                  </a:cubicBezTo>
                  <a:cubicBezTo>
                    <a:pt x="5467" y="4122"/>
                    <a:pt x="5434" y="4162"/>
                    <a:pt x="5408" y="4241"/>
                  </a:cubicBezTo>
                  <a:lnTo>
                    <a:pt x="5408" y="4241"/>
                  </a:lnTo>
                  <a:cubicBezTo>
                    <a:pt x="5408" y="4254"/>
                    <a:pt x="5395" y="4267"/>
                    <a:pt x="5395" y="4280"/>
                  </a:cubicBezTo>
                  <a:cubicBezTo>
                    <a:pt x="5395" y="4300"/>
                    <a:pt x="5428" y="4307"/>
                    <a:pt x="5441" y="4326"/>
                  </a:cubicBezTo>
                  <a:cubicBezTo>
                    <a:pt x="5487" y="4379"/>
                    <a:pt x="5533" y="4419"/>
                    <a:pt x="5533" y="4491"/>
                  </a:cubicBezTo>
                  <a:cubicBezTo>
                    <a:pt x="5533" y="4518"/>
                    <a:pt x="5500" y="4524"/>
                    <a:pt x="5487" y="4551"/>
                  </a:cubicBezTo>
                  <a:cubicBezTo>
                    <a:pt x="5474" y="4584"/>
                    <a:pt x="5487" y="4610"/>
                    <a:pt x="5481" y="4643"/>
                  </a:cubicBezTo>
                  <a:cubicBezTo>
                    <a:pt x="5474" y="4683"/>
                    <a:pt x="5454" y="4696"/>
                    <a:pt x="5448" y="4729"/>
                  </a:cubicBezTo>
                  <a:cubicBezTo>
                    <a:pt x="5441" y="4781"/>
                    <a:pt x="5434" y="4821"/>
                    <a:pt x="5408" y="4867"/>
                  </a:cubicBezTo>
                  <a:cubicBezTo>
                    <a:pt x="5395" y="4900"/>
                    <a:pt x="5382" y="4933"/>
                    <a:pt x="5349" y="4933"/>
                  </a:cubicBezTo>
                  <a:cubicBezTo>
                    <a:pt x="5336" y="4933"/>
                    <a:pt x="5329" y="4913"/>
                    <a:pt x="5316" y="4913"/>
                  </a:cubicBezTo>
                  <a:cubicBezTo>
                    <a:pt x="5276" y="4913"/>
                    <a:pt x="5276" y="4960"/>
                    <a:pt x="5269" y="4993"/>
                  </a:cubicBezTo>
                  <a:cubicBezTo>
                    <a:pt x="5263" y="5025"/>
                    <a:pt x="5250" y="5039"/>
                    <a:pt x="5230" y="5065"/>
                  </a:cubicBezTo>
                  <a:cubicBezTo>
                    <a:pt x="5217" y="5085"/>
                    <a:pt x="5217" y="5105"/>
                    <a:pt x="5190" y="5118"/>
                  </a:cubicBezTo>
                  <a:cubicBezTo>
                    <a:pt x="5144" y="5138"/>
                    <a:pt x="5111" y="5144"/>
                    <a:pt x="5065" y="5171"/>
                  </a:cubicBezTo>
                  <a:cubicBezTo>
                    <a:pt x="5012" y="5217"/>
                    <a:pt x="5012" y="5263"/>
                    <a:pt x="4986" y="5329"/>
                  </a:cubicBezTo>
                  <a:cubicBezTo>
                    <a:pt x="4959" y="5395"/>
                    <a:pt x="4894" y="5421"/>
                    <a:pt x="4894" y="5494"/>
                  </a:cubicBezTo>
                  <a:cubicBezTo>
                    <a:pt x="4894" y="5566"/>
                    <a:pt x="4999" y="5566"/>
                    <a:pt x="4999" y="5639"/>
                  </a:cubicBezTo>
                  <a:cubicBezTo>
                    <a:pt x="4999" y="5685"/>
                    <a:pt x="4999" y="5725"/>
                    <a:pt x="4959" y="5758"/>
                  </a:cubicBezTo>
                  <a:cubicBezTo>
                    <a:pt x="4946" y="5771"/>
                    <a:pt x="4926" y="5784"/>
                    <a:pt x="4926" y="5804"/>
                  </a:cubicBezTo>
                  <a:cubicBezTo>
                    <a:pt x="4926" y="5830"/>
                    <a:pt x="4926" y="5843"/>
                    <a:pt x="4926" y="5870"/>
                  </a:cubicBezTo>
                  <a:cubicBezTo>
                    <a:pt x="4926" y="5909"/>
                    <a:pt x="4894" y="5916"/>
                    <a:pt x="4874" y="5942"/>
                  </a:cubicBezTo>
                  <a:cubicBezTo>
                    <a:pt x="4801" y="6041"/>
                    <a:pt x="4709" y="6048"/>
                    <a:pt x="4643" y="6153"/>
                  </a:cubicBezTo>
                  <a:cubicBezTo>
                    <a:pt x="4603" y="6219"/>
                    <a:pt x="4584" y="6259"/>
                    <a:pt x="4551" y="6332"/>
                  </a:cubicBezTo>
                  <a:cubicBezTo>
                    <a:pt x="4531" y="6364"/>
                    <a:pt x="4511" y="6378"/>
                    <a:pt x="4498" y="6417"/>
                  </a:cubicBezTo>
                  <a:cubicBezTo>
                    <a:pt x="4485" y="6450"/>
                    <a:pt x="4478" y="6477"/>
                    <a:pt x="4452" y="6503"/>
                  </a:cubicBezTo>
                  <a:lnTo>
                    <a:pt x="4452" y="6503"/>
                  </a:lnTo>
                  <a:cubicBezTo>
                    <a:pt x="1399" y="6147"/>
                    <a:pt x="1399" y="6147"/>
                    <a:pt x="1399" y="6147"/>
                  </a:cubicBezTo>
                  <a:cubicBezTo>
                    <a:pt x="1372" y="6140"/>
                    <a:pt x="1379" y="6107"/>
                    <a:pt x="1359" y="6088"/>
                  </a:cubicBezTo>
                  <a:cubicBezTo>
                    <a:pt x="1339" y="6054"/>
                    <a:pt x="1306" y="6048"/>
                    <a:pt x="1280" y="6015"/>
                  </a:cubicBezTo>
                  <a:cubicBezTo>
                    <a:pt x="1234" y="5949"/>
                    <a:pt x="1207" y="5890"/>
                    <a:pt x="1135" y="5876"/>
                  </a:cubicBezTo>
                  <a:cubicBezTo>
                    <a:pt x="1056" y="5863"/>
                    <a:pt x="1043" y="5791"/>
                    <a:pt x="1010" y="5725"/>
                  </a:cubicBezTo>
                  <a:cubicBezTo>
                    <a:pt x="983" y="5672"/>
                    <a:pt x="976" y="5646"/>
                    <a:pt x="957" y="5593"/>
                  </a:cubicBezTo>
                  <a:cubicBezTo>
                    <a:pt x="950" y="5566"/>
                    <a:pt x="930" y="5553"/>
                    <a:pt x="930" y="5527"/>
                  </a:cubicBezTo>
                  <a:cubicBezTo>
                    <a:pt x="930" y="5474"/>
                    <a:pt x="983" y="5454"/>
                    <a:pt x="983" y="5401"/>
                  </a:cubicBezTo>
                  <a:cubicBezTo>
                    <a:pt x="983" y="5336"/>
                    <a:pt x="944" y="5303"/>
                    <a:pt x="911" y="5243"/>
                  </a:cubicBezTo>
                  <a:cubicBezTo>
                    <a:pt x="878" y="5191"/>
                    <a:pt x="845" y="5164"/>
                    <a:pt x="805" y="5118"/>
                  </a:cubicBezTo>
                  <a:lnTo>
                    <a:pt x="805" y="5118"/>
                  </a:lnTo>
                  <a:cubicBezTo>
                    <a:pt x="805" y="5092"/>
                    <a:pt x="799" y="5078"/>
                    <a:pt x="799" y="5052"/>
                  </a:cubicBezTo>
                  <a:cubicBezTo>
                    <a:pt x="799" y="5032"/>
                    <a:pt x="812" y="5019"/>
                    <a:pt x="812" y="4999"/>
                  </a:cubicBezTo>
                  <a:cubicBezTo>
                    <a:pt x="812" y="4973"/>
                    <a:pt x="785" y="4966"/>
                    <a:pt x="785" y="4933"/>
                  </a:cubicBezTo>
                  <a:cubicBezTo>
                    <a:pt x="785" y="4894"/>
                    <a:pt x="785" y="4867"/>
                    <a:pt x="785" y="4828"/>
                  </a:cubicBezTo>
                  <a:cubicBezTo>
                    <a:pt x="785" y="4781"/>
                    <a:pt x="825" y="4768"/>
                    <a:pt x="851" y="4742"/>
                  </a:cubicBezTo>
                  <a:cubicBezTo>
                    <a:pt x="864" y="4735"/>
                    <a:pt x="878" y="4735"/>
                    <a:pt x="884" y="4722"/>
                  </a:cubicBezTo>
                  <a:cubicBezTo>
                    <a:pt x="904" y="4696"/>
                    <a:pt x="897" y="4656"/>
                    <a:pt x="930" y="4656"/>
                  </a:cubicBezTo>
                  <a:cubicBezTo>
                    <a:pt x="944" y="4656"/>
                    <a:pt x="950" y="4663"/>
                    <a:pt x="957" y="4663"/>
                  </a:cubicBezTo>
                  <a:cubicBezTo>
                    <a:pt x="1517" y="2427"/>
                    <a:pt x="1517" y="2427"/>
                    <a:pt x="1517" y="2427"/>
                  </a:cubicBezTo>
                  <a:cubicBezTo>
                    <a:pt x="1465" y="2407"/>
                    <a:pt x="1432" y="2394"/>
                    <a:pt x="1379" y="2381"/>
                  </a:cubicBezTo>
                  <a:cubicBezTo>
                    <a:pt x="1339" y="2381"/>
                    <a:pt x="1319" y="2394"/>
                    <a:pt x="1287" y="2374"/>
                  </a:cubicBezTo>
                  <a:cubicBezTo>
                    <a:pt x="1247" y="2354"/>
                    <a:pt x="1247" y="2321"/>
                    <a:pt x="1207" y="2308"/>
                  </a:cubicBezTo>
                  <a:cubicBezTo>
                    <a:pt x="1161" y="2288"/>
                    <a:pt x="1128" y="2288"/>
                    <a:pt x="1095" y="2255"/>
                  </a:cubicBezTo>
                  <a:cubicBezTo>
                    <a:pt x="1049" y="2229"/>
                    <a:pt x="1036" y="2196"/>
                    <a:pt x="990" y="2176"/>
                  </a:cubicBezTo>
                  <a:cubicBezTo>
                    <a:pt x="944" y="2163"/>
                    <a:pt x="917" y="2183"/>
                    <a:pt x="871" y="2176"/>
                  </a:cubicBezTo>
                  <a:cubicBezTo>
                    <a:pt x="825" y="2176"/>
                    <a:pt x="805" y="2170"/>
                    <a:pt x="759" y="2170"/>
                  </a:cubicBezTo>
                  <a:cubicBezTo>
                    <a:pt x="732" y="2170"/>
                    <a:pt x="719" y="2176"/>
                    <a:pt x="693" y="2176"/>
                  </a:cubicBezTo>
                  <a:cubicBezTo>
                    <a:pt x="647" y="2176"/>
                    <a:pt x="640" y="2137"/>
                    <a:pt x="607" y="2117"/>
                  </a:cubicBezTo>
                  <a:cubicBezTo>
                    <a:pt x="561" y="2077"/>
                    <a:pt x="521" y="2071"/>
                    <a:pt x="475" y="2031"/>
                  </a:cubicBezTo>
                  <a:cubicBezTo>
                    <a:pt x="449" y="2011"/>
                    <a:pt x="422" y="2005"/>
                    <a:pt x="396" y="1978"/>
                  </a:cubicBezTo>
                  <a:cubicBezTo>
                    <a:pt x="383" y="1952"/>
                    <a:pt x="390" y="1932"/>
                    <a:pt x="383" y="1906"/>
                  </a:cubicBezTo>
                  <a:cubicBezTo>
                    <a:pt x="376" y="1879"/>
                    <a:pt x="370" y="1866"/>
                    <a:pt x="370" y="1833"/>
                  </a:cubicBezTo>
                  <a:cubicBezTo>
                    <a:pt x="363" y="1800"/>
                    <a:pt x="324" y="1794"/>
                    <a:pt x="284" y="1787"/>
                  </a:cubicBezTo>
                  <a:cubicBezTo>
                    <a:pt x="238" y="1774"/>
                    <a:pt x="231" y="1734"/>
                    <a:pt x="198" y="1695"/>
                  </a:cubicBezTo>
                  <a:cubicBezTo>
                    <a:pt x="185" y="1675"/>
                    <a:pt x="172" y="1675"/>
                    <a:pt x="159" y="1655"/>
                  </a:cubicBezTo>
                  <a:cubicBezTo>
                    <a:pt x="119" y="1629"/>
                    <a:pt x="113" y="1596"/>
                    <a:pt x="79" y="1563"/>
                  </a:cubicBezTo>
                  <a:cubicBezTo>
                    <a:pt x="53" y="1536"/>
                    <a:pt x="40" y="1523"/>
                    <a:pt x="40" y="1490"/>
                  </a:cubicBezTo>
                  <a:cubicBezTo>
                    <a:pt x="40" y="1444"/>
                    <a:pt x="40" y="1418"/>
                    <a:pt x="40" y="1372"/>
                  </a:cubicBezTo>
                  <a:cubicBezTo>
                    <a:pt x="40" y="1332"/>
                    <a:pt x="27" y="1306"/>
                    <a:pt x="27" y="1266"/>
                  </a:cubicBezTo>
                  <a:cubicBezTo>
                    <a:pt x="0" y="659"/>
                    <a:pt x="0" y="659"/>
                    <a:pt x="0" y="659"/>
                  </a:cubicBezTo>
                  <a:lnTo>
                    <a:pt x="0" y="659"/>
                  </a:lnTo>
                  <a:cubicBezTo>
                    <a:pt x="0" y="666"/>
                    <a:pt x="7" y="666"/>
                    <a:pt x="7" y="666"/>
                  </a:cubicBezTo>
                  <a:cubicBezTo>
                    <a:pt x="40" y="686"/>
                    <a:pt x="60" y="672"/>
                    <a:pt x="93" y="679"/>
                  </a:cubicBezTo>
                  <a:cubicBezTo>
                    <a:pt x="159" y="699"/>
                    <a:pt x="198" y="712"/>
                    <a:pt x="271" y="712"/>
                  </a:cubicBezTo>
                  <a:cubicBezTo>
                    <a:pt x="310" y="712"/>
                    <a:pt x="324" y="679"/>
                    <a:pt x="357" y="653"/>
                  </a:cubicBezTo>
                  <a:cubicBezTo>
                    <a:pt x="409" y="607"/>
                    <a:pt x="456" y="600"/>
                    <a:pt x="528" y="587"/>
                  </a:cubicBezTo>
                  <a:cubicBezTo>
                    <a:pt x="607" y="593"/>
                    <a:pt x="607" y="593"/>
                    <a:pt x="607" y="593"/>
                  </a:cubicBezTo>
                  <a:cubicBezTo>
                    <a:pt x="660" y="593"/>
                    <a:pt x="660" y="593"/>
                    <a:pt x="660" y="593"/>
                  </a:cubicBezTo>
                  <a:cubicBezTo>
                    <a:pt x="660" y="560"/>
                    <a:pt x="667" y="534"/>
                    <a:pt x="700" y="514"/>
                  </a:cubicBezTo>
                  <a:cubicBezTo>
                    <a:pt x="746" y="481"/>
                    <a:pt x="785" y="501"/>
                    <a:pt x="845" y="488"/>
                  </a:cubicBezTo>
                  <a:cubicBezTo>
                    <a:pt x="930" y="468"/>
                    <a:pt x="944" y="356"/>
                    <a:pt x="1036" y="356"/>
                  </a:cubicBezTo>
                  <a:cubicBezTo>
                    <a:pt x="1062" y="356"/>
                    <a:pt x="1082" y="356"/>
                    <a:pt x="1102" y="369"/>
                  </a:cubicBezTo>
                  <a:cubicBezTo>
                    <a:pt x="1115" y="376"/>
                    <a:pt x="1115" y="389"/>
                    <a:pt x="1128" y="395"/>
                  </a:cubicBezTo>
                  <a:cubicBezTo>
                    <a:pt x="1174" y="409"/>
                    <a:pt x="1201" y="415"/>
                    <a:pt x="1247" y="415"/>
                  </a:cubicBezTo>
                  <a:cubicBezTo>
                    <a:pt x="1280" y="415"/>
                    <a:pt x="1293" y="415"/>
                    <a:pt x="1326" y="415"/>
                  </a:cubicBezTo>
                  <a:cubicBezTo>
                    <a:pt x="1339" y="415"/>
                    <a:pt x="1339" y="395"/>
                    <a:pt x="1353" y="389"/>
                  </a:cubicBezTo>
                  <a:cubicBezTo>
                    <a:pt x="1379" y="369"/>
                    <a:pt x="1405" y="363"/>
                    <a:pt x="1432" y="343"/>
                  </a:cubicBezTo>
                  <a:lnTo>
                    <a:pt x="1432" y="343"/>
                  </a:lnTo>
                  <a:cubicBezTo>
                    <a:pt x="1471" y="363"/>
                    <a:pt x="1504" y="369"/>
                    <a:pt x="1550" y="382"/>
                  </a:cubicBezTo>
                  <a:cubicBezTo>
                    <a:pt x="1597" y="395"/>
                    <a:pt x="1623" y="409"/>
                    <a:pt x="1669" y="409"/>
                  </a:cubicBezTo>
                  <a:cubicBezTo>
                    <a:pt x="1702" y="409"/>
                    <a:pt x="1729" y="382"/>
                    <a:pt x="1729" y="349"/>
                  </a:cubicBezTo>
                  <a:cubicBezTo>
                    <a:pt x="1729" y="336"/>
                    <a:pt x="1709" y="336"/>
                    <a:pt x="1702" y="323"/>
                  </a:cubicBezTo>
                  <a:cubicBezTo>
                    <a:pt x="1662" y="270"/>
                    <a:pt x="1603" y="257"/>
                    <a:pt x="1603" y="191"/>
                  </a:cubicBezTo>
                  <a:cubicBezTo>
                    <a:pt x="1603" y="151"/>
                    <a:pt x="1643" y="145"/>
                    <a:pt x="1662" y="112"/>
                  </a:cubicBezTo>
                  <a:cubicBezTo>
                    <a:pt x="1689" y="72"/>
                    <a:pt x="1676" y="39"/>
                    <a:pt x="1709" y="13"/>
                  </a:cubicBezTo>
                  <a:cubicBezTo>
                    <a:pt x="1794" y="46"/>
                    <a:pt x="1847" y="66"/>
                    <a:pt x="1940" y="66"/>
                  </a:cubicBezTo>
                  <a:cubicBezTo>
                    <a:pt x="2025" y="66"/>
                    <a:pt x="2065" y="0"/>
                    <a:pt x="2151" y="0"/>
                  </a:cubicBezTo>
                  <a:cubicBezTo>
                    <a:pt x="2190" y="0"/>
                    <a:pt x="2217" y="20"/>
                    <a:pt x="2243" y="46"/>
                  </a:cubicBezTo>
                  <a:cubicBezTo>
                    <a:pt x="2269" y="66"/>
                    <a:pt x="2296" y="66"/>
                    <a:pt x="2316" y="85"/>
                  </a:cubicBezTo>
                  <a:cubicBezTo>
                    <a:pt x="2335" y="105"/>
                    <a:pt x="2347" y="118"/>
                    <a:pt x="2367" y="138"/>
                  </a:cubicBezTo>
                  <a:lnTo>
                    <a:pt x="2367" y="138"/>
                  </a:lnTo>
                  <a:cubicBezTo>
                    <a:pt x="2361" y="197"/>
                    <a:pt x="2361" y="231"/>
                    <a:pt x="2342" y="283"/>
                  </a:cubicBezTo>
                  <a:cubicBezTo>
                    <a:pt x="2329" y="323"/>
                    <a:pt x="2309" y="343"/>
                    <a:pt x="2309" y="376"/>
                  </a:cubicBezTo>
                  <a:cubicBezTo>
                    <a:pt x="2309" y="395"/>
                    <a:pt x="2329" y="402"/>
                    <a:pt x="2347" y="409"/>
                  </a:cubicBezTo>
                  <a:cubicBezTo>
                    <a:pt x="2400" y="448"/>
                    <a:pt x="2433" y="468"/>
                    <a:pt x="2479" y="521"/>
                  </a:cubicBezTo>
                  <a:cubicBezTo>
                    <a:pt x="2532" y="587"/>
                    <a:pt x="2532" y="653"/>
                    <a:pt x="2545" y="738"/>
                  </a:cubicBezTo>
                  <a:cubicBezTo>
                    <a:pt x="2552" y="778"/>
                    <a:pt x="2572" y="798"/>
                    <a:pt x="2611" y="818"/>
                  </a:cubicBezTo>
                  <a:cubicBezTo>
                    <a:pt x="2651" y="837"/>
                    <a:pt x="2664" y="864"/>
                    <a:pt x="2710" y="870"/>
                  </a:cubicBezTo>
                  <a:cubicBezTo>
                    <a:pt x="2730" y="877"/>
                    <a:pt x="2743" y="864"/>
                    <a:pt x="2763" y="877"/>
                  </a:cubicBezTo>
                  <a:cubicBezTo>
                    <a:pt x="2783" y="883"/>
                    <a:pt x="2776" y="910"/>
                    <a:pt x="2789" y="930"/>
                  </a:cubicBezTo>
                  <a:cubicBezTo>
                    <a:pt x="2803" y="963"/>
                    <a:pt x="2822" y="976"/>
                    <a:pt x="2855" y="989"/>
                  </a:cubicBezTo>
                  <a:cubicBezTo>
                    <a:pt x="2921" y="1035"/>
                    <a:pt x="2974" y="1042"/>
                    <a:pt x="3027" y="1101"/>
                  </a:cubicBezTo>
                  <a:cubicBezTo>
                    <a:pt x="3053" y="1128"/>
                    <a:pt x="3053" y="1154"/>
                    <a:pt x="3060" y="1187"/>
                  </a:cubicBezTo>
                  <a:cubicBezTo>
                    <a:pt x="3067" y="1240"/>
                    <a:pt x="3099" y="1266"/>
                    <a:pt x="3119" y="1312"/>
                  </a:cubicBezTo>
                  <a:cubicBezTo>
                    <a:pt x="3159" y="1391"/>
                    <a:pt x="3165" y="1451"/>
                    <a:pt x="3231" y="1510"/>
                  </a:cubicBezTo>
                  <a:cubicBezTo>
                    <a:pt x="3264" y="1536"/>
                    <a:pt x="3278" y="1556"/>
                    <a:pt x="3311" y="1583"/>
                  </a:cubicBezTo>
                  <a:cubicBezTo>
                    <a:pt x="3343" y="1603"/>
                    <a:pt x="3390" y="1616"/>
                    <a:pt x="3390" y="1662"/>
                  </a:cubicBezTo>
                  <a:cubicBezTo>
                    <a:pt x="3390" y="1695"/>
                    <a:pt x="3390" y="1715"/>
                    <a:pt x="3390" y="1748"/>
                  </a:cubicBezTo>
                  <a:cubicBezTo>
                    <a:pt x="3390" y="1800"/>
                    <a:pt x="3456" y="1787"/>
                    <a:pt x="3508" y="1800"/>
                  </a:cubicBezTo>
                  <a:cubicBezTo>
                    <a:pt x="3555" y="1807"/>
                    <a:pt x="3548" y="1860"/>
                    <a:pt x="3555" y="1906"/>
                  </a:cubicBezTo>
                  <a:cubicBezTo>
                    <a:pt x="3574" y="1965"/>
                    <a:pt x="3614" y="1985"/>
                    <a:pt x="3667" y="2011"/>
                  </a:cubicBezTo>
                  <a:cubicBezTo>
                    <a:pt x="3700" y="2031"/>
                    <a:pt x="3719" y="2038"/>
                    <a:pt x="3753" y="2051"/>
                  </a:cubicBezTo>
                  <a:cubicBezTo>
                    <a:pt x="3719" y="2084"/>
                    <a:pt x="3733" y="2110"/>
                    <a:pt x="3713" y="2150"/>
                  </a:cubicBezTo>
                  <a:lnTo>
                    <a:pt x="3713" y="2150"/>
                  </a:lnTo>
                  <a:cubicBezTo>
                    <a:pt x="3713" y="2150"/>
                    <a:pt x="3713" y="2150"/>
                    <a:pt x="3706" y="2150"/>
                  </a:cubicBezTo>
                  <a:cubicBezTo>
                    <a:pt x="3673" y="2150"/>
                    <a:pt x="3660" y="2176"/>
                    <a:pt x="3627" y="2183"/>
                  </a:cubicBezTo>
                  <a:cubicBezTo>
                    <a:pt x="3607" y="2189"/>
                    <a:pt x="3581" y="2196"/>
                    <a:pt x="3581" y="2216"/>
                  </a:cubicBezTo>
                  <a:cubicBezTo>
                    <a:pt x="3581" y="2255"/>
                    <a:pt x="3601" y="2275"/>
                    <a:pt x="3601" y="2321"/>
                  </a:cubicBezTo>
                  <a:cubicBezTo>
                    <a:pt x="3673" y="2275"/>
                    <a:pt x="3726" y="2262"/>
                    <a:pt x="3799" y="2222"/>
                  </a:cubicBezTo>
                  <a:cubicBezTo>
                    <a:pt x="3871" y="2189"/>
                    <a:pt x="3898" y="2117"/>
                    <a:pt x="3983" y="2110"/>
                  </a:cubicBezTo>
                  <a:cubicBezTo>
                    <a:pt x="4062" y="2110"/>
                    <a:pt x="4115" y="2064"/>
                    <a:pt x="4161" y="1998"/>
                  </a:cubicBezTo>
                  <a:cubicBezTo>
                    <a:pt x="4201" y="1932"/>
                    <a:pt x="4194" y="1827"/>
                    <a:pt x="4267" y="1827"/>
                  </a:cubicBezTo>
                  <a:cubicBezTo>
                    <a:pt x="4293" y="1827"/>
                    <a:pt x="4287" y="1860"/>
                    <a:pt x="4287" y="1879"/>
                  </a:cubicBezTo>
                  <a:cubicBezTo>
                    <a:pt x="4287" y="1939"/>
                    <a:pt x="4287" y="1972"/>
                    <a:pt x="4287" y="2025"/>
                  </a:cubicBezTo>
                  <a:cubicBezTo>
                    <a:pt x="4320" y="2031"/>
                    <a:pt x="4340" y="2038"/>
                    <a:pt x="4372" y="2038"/>
                  </a:cubicBezTo>
                  <a:cubicBezTo>
                    <a:pt x="4392" y="2038"/>
                    <a:pt x="4392" y="2011"/>
                    <a:pt x="4399" y="1998"/>
                  </a:cubicBezTo>
                  <a:cubicBezTo>
                    <a:pt x="4405" y="1959"/>
                    <a:pt x="4412" y="1939"/>
                    <a:pt x="4419" y="1899"/>
                  </a:cubicBezTo>
                  <a:cubicBezTo>
                    <a:pt x="4425" y="1840"/>
                    <a:pt x="4425" y="1800"/>
                    <a:pt x="4445" y="1748"/>
                  </a:cubicBezTo>
                  <a:cubicBezTo>
                    <a:pt x="4458" y="1715"/>
                    <a:pt x="4458" y="1688"/>
                    <a:pt x="4485" y="1668"/>
                  </a:cubicBezTo>
                  <a:cubicBezTo>
                    <a:pt x="4551" y="1616"/>
                    <a:pt x="4603" y="1616"/>
                    <a:pt x="4683" y="1616"/>
                  </a:cubicBezTo>
                  <a:cubicBezTo>
                    <a:pt x="4755" y="1616"/>
                    <a:pt x="4795" y="1649"/>
                    <a:pt x="4867" y="1649"/>
                  </a:cubicBezTo>
                  <a:cubicBezTo>
                    <a:pt x="4979" y="1649"/>
                    <a:pt x="5025" y="1569"/>
                    <a:pt x="5144" y="1569"/>
                  </a:cubicBezTo>
                  <a:cubicBezTo>
                    <a:pt x="5190" y="1569"/>
                    <a:pt x="5217" y="1596"/>
                    <a:pt x="5263" y="1616"/>
                  </a:cubicBezTo>
                  <a:cubicBezTo>
                    <a:pt x="5296" y="1629"/>
                    <a:pt x="5316" y="1629"/>
                    <a:pt x="5355" y="1635"/>
                  </a:cubicBezTo>
                  <a:cubicBezTo>
                    <a:pt x="5382" y="1642"/>
                    <a:pt x="5395" y="1649"/>
                    <a:pt x="5421" y="1655"/>
                  </a:cubicBezTo>
                  <a:cubicBezTo>
                    <a:pt x="5461" y="1662"/>
                    <a:pt x="5507" y="1675"/>
                    <a:pt x="5507" y="1715"/>
                  </a:cubicBezTo>
                  <a:cubicBezTo>
                    <a:pt x="5507" y="1741"/>
                    <a:pt x="5481" y="1748"/>
                    <a:pt x="5474" y="1774"/>
                  </a:cubicBezTo>
                  <a:cubicBezTo>
                    <a:pt x="5454" y="1807"/>
                    <a:pt x="5448" y="1827"/>
                    <a:pt x="5448" y="1866"/>
                  </a:cubicBezTo>
                  <a:cubicBezTo>
                    <a:pt x="5448" y="1906"/>
                    <a:pt x="5448" y="1932"/>
                    <a:pt x="5448" y="1972"/>
                  </a:cubicBezTo>
                  <a:cubicBezTo>
                    <a:pt x="5421" y="1998"/>
                    <a:pt x="5415" y="2025"/>
                    <a:pt x="5401" y="2051"/>
                  </a:cubicBezTo>
                  <a:cubicBezTo>
                    <a:pt x="5342" y="2163"/>
                    <a:pt x="5289" y="2262"/>
                    <a:pt x="5164" y="2269"/>
                  </a:cubicBezTo>
                  <a:cubicBezTo>
                    <a:pt x="4999" y="2282"/>
                    <a:pt x="4913" y="2354"/>
                    <a:pt x="4748" y="2354"/>
                  </a:cubicBezTo>
                  <a:cubicBezTo>
                    <a:pt x="4683" y="2354"/>
                    <a:pt x="4650" y="2334"/>
                    <a:pt x="4584" y="2334"/>
                  </a:cubicBezTo>
                  <a:cubicBezTo>
                    <a:pt x="4531" y="2334"/>
                    <a:pt x="4498" y="2348"/>
                    <a:pt x="4445" y="2354"/>
                  </a:cubicBezTo>
                  <a:cubicBezTo>
                    <a:pt x="4399" y="2361"/>
                    <a:pt x="4372" y="2348"/>
                    <a:pt x="4333" y="2361"/>
                  </a:cubicBezTo>
                  <a:cubicBezTo>
                    <a:pt x="4346" y="2387"/>
                    <a:pt x="4372" y="2394"/>
                    <a:pt x="4405" y="2401"/>
                  </a:cubicBezTo>
                  <a:cubicBezTo>
                    <a:pt x="4452" y="2420"/>
                    <a:pt x="4478" y="2440"/>
                    <a:pt x="4531" y="2440"/>
                  </a:cubicBezTo>
                  <a:cubicBezTo>
                    <a:pt x="4557" y="2440"/>
                    <a:pt x="4570" y="2440"/>
                    <a:pt x="4597" y="2440"/>
                  </a:cubicBezTo>
                  <a:lnTo>
                    <a:pt x="4597" y="2440"/>
                  </a:lnTo>
                  <a:cubicBezTo>
                    <a:pt x="5045" y="2374"/>
                    <a:pt x="5045" y="2374"/>
                    <a:pt x="5045" y="2374"/>
                  </a:cubicBezTo>
                  <a:lnTo>
                    <a:pt x="5045" y="2374"/>
                  </a:lnTo>
                  <a:cubicBezTo>
                    <a:pt x="5045" y="2394"/>
                    <a:pt x="5045" y="2401"/>
                    <a:pt x="5045" y="2420"/>
                  </a:cubicBezTo>
                  <a:cubicBezTo>
                    <a:pt x="5045" y="2493"/>
                    <a:pt x="5006" y="2526"/>
                    <a:pt x="4973" y="2592"/>
                  </a:cubicBezTo>
                  <a:cubicBezTo>
                    <a:pt x="4946" y="2645"/>
                    <a:pt x="4946" y="2684"/>
                    <a:pt x="4946" y="2744"/>
                  </a:cubicBezTo>
                  <a:cubicBezTo>
                    <a:pt x="4946" y="2757"/>
                    <a:pt x="4953" y="2763"/>
                    <a:pt x="4959" y="2776"/>
                  </a:cubicBezTo>
                  <a:cubicBezTo>
                    <a:pt x="4979" y="2750"/>
                    <a:pt x="4979" y="2724"/>
                    <a:pt x="4993" y="2697"/>
                  </a:cubicBezTo>
                  <a:cubicBezTo>
                    <a:pt x="5012" y="2658"/>
                    <a:pt x="5025" y="2631"/>
                    <a:pt x="5052" y="2598"/>
                  </a:cubicBezTo>
                  <a:cubicBezTo>
                    <a:pt x="5078" y="2552"/>
                    <a:pt x="5091" y="2526"/>
                    <a:pt x="5118" y="2473"/>
                  </a:cubicBezTo>
                  <a:cubicBezTo>
                    <a:pt x="5184" y="2381"/>
                    <a:pt x="5243" y="2348"/>
                    <a:pt x="5336" y="2275"/>
                  </a:cubicBezTo>
                  <a:cubicBezTo>
                    <a:pt x="5355" y="2295"/>
                    <a:pt x="5355" y="2321"/>
                    <a:pt x="5382" y="2328"/>
                  </a:cubicBezTo>
                  <a:cubicBezTo>
                    <a:pt x="5434" y="2341"/>
                    <a:pt x="5467" y="2348"/>
                    <a:pt x="5520" y="2348"/>
                  </a:cubicBezTo>
                  <a:cubicBezTo>
                    <a:pt x="5540" y="2348"/>
                    <a:pt x="5540" y="2321"/>
                    <a:pt x="5540" y="2302"/>
                  </a:cubicBezTo>
                  <a:cubicBezTo>
                    <a:pt x="5540" y="2269"/>
                    <a:pt x="5540" y="2249"/>
                    <a:pt x="5540" y="2216"/>
                  </a:cubicBezTo>
                  <a:cubicBezTo>
                    <a:pt x="5540" y="2176"/>
                    <a:pt x="5573" y="2163"/>
                    <a:pt x="5573" y="2123"/>
                  </a:cubicBezTo>
                  <a:cubicBezTo>
                    <a:pt x="5573" y="2084"/>
                    <a:pt x="5573" y="2058"/>
                    <a:pt x="5573" y="2018"/>
                  </a:cubicBezTo>
                  <a:cubicBezTo>
                    <a:pt x="5573" y="1992"/>
                    <a:pt x="5599" y="1985"/>
                    <a:pt x="5619" y="1978"/>
                  </a:cubicBezTo>
                  <a:cubicBezTo>
                    <a:pt x="5659" y="1952"/>
                    <a:pt x="5679" y="1932"/>
                    <a:pt x="5711" y="1893"/>
                  </a:cubicBezTo>
                  <a:cubicBezTo>
                    <a:pt x="5718" y="1893"/>
                    <a:pt x="5718" y="1899"/>
                    <a:pt x="5725" y="1899"/>
                  </a:cubicBezTo>
                  <a:cubicBezTo>
                    <a:pt x="5791" y="1899"/>
                    <a:pt x="5830" y="1879"/>
                    <a:pt x="5896" y="1879"/>
                  </a:cubicBezTo>
                  <a:cubicBezTo>
                    <a:pt x="5942" y="1879"/>
                    <a:pt x="5962" y="1879"/>
                    <a:pt x="6008" y="1886"/>
                  </a:cubicBezTo>
                  <a:cubicBezTo>
                    <a:pt x="6041" y="1893"/>
                    <a:pt x="6048" y="1919"/>
                    <a:pt x="6081" y="1932"/>
                  </a:cubicBezTo>
                  <a:cubicBezTo>
                    <a:pt x="6153" y="1959"/>
                    <a:pt x="6206" y="1959"/>
                    <a:pt x="6285" y="1965"/>
                  </a:cubicBezTo>
                  <a:cubicBezTo>
                    <a:pt x="6378" y="1978"/>
                    <a:pt x="6424" y="2018"/>
                    <a:pt x="6516" y="2025"/>
                  </a:cubicBezTo>
                  <a:cubicBezTo>
                    <a:pt x="6595" y="2064"/>
                    <a:pt x="6648" y="2077"/>
                    <a:pt x="6721" y="2130"/>
                  </a:cubicBezTo>
                  <a:cubicBezTo>
                    <a:pt x="6727" y="2130"/>
                    <a:pt x="6734" y="2137"/>
                    <a:pt x="6740" y="2137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" name="Freeform 31"/>
            <p:cNvSpPr>
              <a:spLocks noChangeArrowheads="1"/>
            </p:cNvSpPr>
            <p:nvPr/>
          </p:nvSpPr>
          <p:spPr bwMode="auto">
            <a:xfrm>
              <a:off x="6029727" y="3832220"/>
              <a:ext cx="2427130" cy="2341563"/>
            </a:xfrm>
            <a:custGeom>
              <a:avLst/>
              <a:gdLst>
                <a:gd name="T0" fmla="*/ 4340 w 6741"/>
                <a:gd name="T1" fmla="*/ 1609 h 6504"/>
                <a:gd name="T2" fmla="*/ 4260 w 6741"/>
                <a:gd name="T3" fmla="*/ 1629 h 6504"/>
                <a:gd name="T4" fmla="*/ 4379 w 6741"/>
                <a:gd name="T5" fmla="*/ 1457 h 6504"/>
                <a:gd name="T6" fmla="*/ 4208 w 6741"/>
                <a:gd name="T7" fmla="*/ 1629 h 6504"/>
                <a:gd name="T8" fmla="*/ 4379 w 6741"/>
                <a:gd name="T9" fmla="*/ 1457 h 6504"/>
                <a:gd name="T10" fmla="*/ 4854 w 6741"/>
                <a:gd name="T11" fmla="*/ 1523 h 6504"/>
                <a:gd name="T12" fmla="*/ 4920 w 6741"/>
                <a:gd name="T13" fmla="*/ 1471 h 6504"/>
                <a:gd name="T14" fmla="*/ 4788 w 6741"/>
                <a:gd name="T15" fmla="*/ 1378 h 6504"/>
                <a:gd name="T16" fmla="*/ 4551 w 6741"/>
                <a:gd name="T17" fmla="*/ 1240 h 6504"/>
                <a:gd name="T18" fmla="*/ 4557 w 6741"/>
                <a:gd name="T19" fmla="*/ 1477 h 6504"/>
                <a:gd name="T20" fmla="*/ 4775 w 6741"/>
                <a:gd name="T21" fmla="*/ 1523 h 6504"/>
                <a:gd name="T22" fmla="*/ 6740 w 6741"/>
                <a:gd name="T23" fmla="*/ 2137 h 6504"/>
                <a:gd name="T24" fmla="*/ 6655 w 6741"/>
                <a:gd name="T25" fmla="*/ 2585 h 6504"/>
                <a:gd name="T26" fmla="*/ 6391 w 6741"/>
                <a:gd name="T27" fmla="*/ 3054 h 6504"/>
                <a:gd name="T28" fmla="*/ 6298 w 6741"/>
                <a:gd name="T29" fmla="*/ 3337 h 6504"/>
                <a:gd name="T30" fmla="*/ 6048 w 6741"/>
                <a:gd name="T31" fmla="*/ 3667 h 6504"/>
                <a:gd name="T32" fmla="*/ 5817 w 6741"/>
                <a:gd name="T33" fmla="*/ 3871 h 6504"/>
                <a:gd name="T34" fmla="*/ 5408 w 6741"/>
                <a:gd name="T35" fmla="*/ 4241 h 6504"/>
                <a:gd name="T36" fmla="*/ 5487 w 6741"/>
                <a:gd name="T37" fmla="*/ 4551 h 6504"/>
                <a:gd name="T38" fmla="*/ 5349 w 6741"/>
                <a:gd name="T39" fmla="*/ 4933 h 6504"/>
                <a:gd name="T40" fmla="*/ 5190 w 6741"/>
                <a:gd name="T41" fmla="*/ 5118 h 6504"/>
                <a:gd name="T42" fmla="*/ 4999 w 6741"/>
                <a:gd name="T43" fmla="*/ 5639 h 6504"/>
                <a:gd name="T44" fmla="*/ 4874 w 6741"/>
                <a:gd name="T45" fmla="*/ 5942 h 6504"/>
                <a:gd name="T46" fmla="*/ 4452 w 6741"/>
                <a:gd name="T47" fmla="*/ 6503 h 6504"/>
                <a:gd name="T48" fmla="*/ 1280 w 6741"/>
                <a:gd name="T49" fmla="*/ 6015 h 6504"/>
                <a:gd name="T50" fmla="*/ 930 w 6741"/>
                <a:gd name="T51" fmla="*/ 5527 h 6504"/>
                <a:gd name="T52" fmla="*/ 805 w 6741"/>
                <a:gd name="T53" fmla="*/ 5118 h 6504"/>
                <a:gd name="T54" fmla="*/ 785 w 6741"/>
                <a:gd name="T55" fmla="*/ 4828 h 6504"/>
                <a:gd name="T56" fmla="*/ 957 w 6741"/>
                <a:gd name="T57" fmla="*/ 4663 h 6504"/>
                <a:gd name="T58" fmla="*/ 1207 w 6741"/>
                <a:gd name="T59" fmla="*/ 2308 h 6504"/>
                <a:gd name="T60" fmla="*/ 759 w 6741"/>
                <a:gd name="T61" fmla="*/ 2170 h 6504"/>
                <a:gd name="T62" fmla="*/ 396 w 6741"/>
                <a:gd name="T63" fmla="*/ 1978 h 6504"/>
                <a:gd name="T64" fmla="*/ 198 w 6741"/>
                <a:gd name="T65" fmla="*/ 1695 h 6504"/>
                <a:gd name="T66" fmla="*/ 40 w 6741"/>
                <a:gd name="T67" fmla="*/ 1372 h 6504"/>
                <a:gd name="T68" fmla="*/ 7 w 6741"/>
                <a:gd name="T69" fmla="*/ 666 h 6504"/>
                <a:gd name="T70" fmla="*/ 528 w 6741"/>
                <a:gd name="T71" fmla="*/ 587 h 6504"/>
                <a:gd name="T72" fmla="*/ 845 w 6741"/>
                <a:gd name="T73" fmla="*/ 488 h 6504"/>
                <a:gd name="T74" fmla="*/ 1247 w 6741"/>
                <a:gd name="T75" fmla="*/ 415 h 6504"/>
                <a:gd name="T76" fmla="*/ 1432 w 6741"/>
                <a:gd name="T77" fmla="*/ 343 h 6504"/>
                <a:gd name="T78" fmla="*/ 1702 w 6741"/>
                <a:gd name="T79" fmla="*/ 323 h 6504"/>
                <a:gd name="T80" fmla="*/ 1940 w 6741"/>
                <a:gd name="T81" fmla="*/ 66 h 6504"/>
                <a:gd name="T82" fmla="*/ 2367 w 6741"/>
                <a:gd name="T83" fmla="*/ 138 h 6504"/>
                <a:gd name="T84" fmla="*/ 2347 w 6741"/>
                <a:gd name="T85" fmla="*/ 409 h 6504"/>
                <a:gd name="T86" fmla="*/ 2710 w 6741"/>
                <a:gd name="T87" fmla="*/ 870 h 6504"/>
                <a:gd name="T88" fmla="*/ 3027 w 6741"/>
                <a:gd name="T89" fmla="*/ 1101 h 6504"/>
                <a:gd name="T90" fmla="*/ 3311 w 6741"/>
                <a:gd name="T91" fmla="*/ 1583 h 6504"/>
                <a:gd name="T92" fmla="*/ 3555 w 6741"/>
                <a:gd name="T93" fmla="*/ 1906 h 6504"/>
                <a:gd name="T94" fmla="*/ 3713 w 6741"/>
                <a:gd name="T95" fmla="*/ 2150 h 6504"/>
                <a:gd name="T96" fmla="*/ 3601 w 6741"/>
                <a:gd name="T97" fmla="*/ 2321 h 6504"/>
                <a:gd name="T98" fmla="*/ 4267 w 6741"/>
                <a:gd name="T99" fmla="*/ 1827 h 6504"/>
                <a:gd name="T100" fmla="*/ 4399 w 6741"/>
                <a:gd name="T101" fmla="*/ 1998 h 6504"/>
                <a:gd name="T102" fmla="*/ 4683 w 6741"/>
                <a:gd name="T103" fmla="*/ 1616 h 6504"/>
                <a:gd name="T104" fmla="*/ 5355 w 6741"/>
                <a:gd name="T105" fmla="*/ 1635 h 6504"/>
                <a:gd name="T106" fmla="*/ 5448 w 6741"/>
                <a:gd name="T107" fmla="*/ 1866 h 6504"/>
                <a:gd name="T108" fmla="*/ 4748 w 6741"/>
                <a:gd name="T109" fmla="*/ 2354 h 6504"/>
                <a:gd name="T110" fmla="*/ 4405 w 6741"/>
                <a:gd name="T111" fmla="*/ 2401 h 6504"/>
                <a:gd name="T112" fmla="*/ 5045 w 6741"/>
                <a:gd name="T113" fmla="*/ 2374 h 6504"/>
                <a:gd name="T114" fmla="*/ 4946 w 6741"/>
                <a:gd name="T115" fmla="*/ 2744 h 6504"/>
                <a:gd name="T116" fmla="*/ 5118 w 6741"/>
                <a:gd name="T117" fmla="*/ 2473 h 6504"/>
                <a:gd name="T118" fmla="*/ 5540 w 6741"/>
                <a:gd name="T119" fmla="*/ 2302 h 6504"/>
                <a:gd name="T120" fmla="*/ 5619 w 6741"/>
                <a:gd name="T121" fmla="*/ 1978 h 6504"/>
                <a:gd name="T122" fmla="*/ 6008 w 6741"/>
                <a:gd name="T123" fmla="*/ 1886 h 6504"/>
                <a:gd name="T124" fmla="*/ 6721 w 6741"/>
                <a:gd name="T125" fmla="*/ 2130 h 6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741" h="6504">
                  <a:moveTo>
                    <a:pt x="4353" y="1655"/>
                  </a:moveTo>
                  <a:lnTo>
                    <a:pt x="4353" y="1655"/>
                  </a:lnTo>
                  <a:cubicBezTo>
                    <a:pt x="4353" y="1616"/>
                    <a:pt x="4353" y="1616"/>
                    <a:pt x="4353" y="1616"/>
                  </a:cubicBezTo>
                  <a:cubicBezTo>
                    <a:pt x="4340" y="1609"/>
                    <a:pt x="4340" y="1609"/>
                    <a:pt x="4340" y="1609"/>
                  </a:cubicBezTo>
                  <a:cubicBezTo>
                    <a:pt x="4333" y="1596"/>
                    <a:pt x="4333" y="1596"/>
                    <a:pt x="4333" y="1596"/>
                  </a:cubicBezTo>
                  <a:lnTo>
                    <a:pt x="4333" y="1596"/>
                  </a:lnTo>
                  <a:cubicBezTo>
                    <a:pt x="4326" y="1596"/>
                    <a:pt x="4320" y="1589"/>
                    <a:pt x="4313" y="1589"/>
                  </a:cubicBezTo>
                  <a:cubicBezTo>
                    <a:pt x="4287" y="1589"/>
                    <a:pt x="4280" y="1616"/>
                    <a:pt x="4260" y="1629"/>
                  </a:cubicBezTo>
                  <a:cubicBezTo>
                    <a:pt x="4227" y="1655"/>
                    <a:pt x="4208" y="1668"/>
                    <a:pt x="4188" y="1708"/>
                  </a:cubicBezTo>
                  <a:cubicBezTo>
                    <a:pt x="4194" y="1708"/>
                    <a:pt x="4201" y="1708"/>
                    <a:pt x="4208" y="1708"/>
                  </a:cubicBezTo>
                  <a:cubicBezTo>
                    <a:pt x="4267" y="1708"/>
                    <a:pt x="4300" y="1688"/>
                    <a:pt x="4353" y="1655"/>
                  </a:cubicBezTo>
                  <a:close/>
                  <a:moveTo>
                    <a:pt x="4379" y="1457"/>
                  </a:moveTo>
                  <a:lnTo>
                    <a:pt x="4379" y="1457"/>
                  </a:lnTo>
                  <a:cubicBezTo>
                    <a:pt x="4333" y="1457"/>
                    <a:pt x="4307" y="1471"/>
                    <a:pt x="4260" y="1504"/>
                  </a:cubicBezTo>
                  <a:cubicBezTo>
                    <a:pt x="4221" y="1536"/>
                    <a:pt x="4175" y="1556"/>
                    <a:pt x="4175" y="1609"/>
                  </a:cubicBezTo>
                  <a:cubicBezTo>
                    <a:pt x="4175" y="1622"/>
                    <a:pt x="4188" y="1629"/>
                    <a:pt x="4208" y="1629"/>
                  </a:cubicBezTo>
                  <a:cubicBezTo>
                    <a:pt x="4227" y="1629"/>
                    <a:pt x="4227" y="1609"/>
                    <a:pt x="4241" y="1596"/>
                  </a:cubicBezTo>
                  <a:cubicBezTo>
                    <a:pt x="4273" y="1563"/>
                    <a:pt x="4293" y="1550"/>
                    <a:pt x="4333" y="1536"/>
                  </a:cubicBezTo>
                  <a:cubicBezTo>
                    <a:pt x="4372" y="1523"/>
                    <a:pt x="4432" y="1530"/>
                    <a:pt x="4432" y="1484"/>
                  </a:cubicBezTo>
                  <a:cubicBezTo>
                    <a:pt x="4432" y="1464"/>
                    <a:pt x="4399" y="1457"/>
                    <a:pt x="4379" y="1457"/>
                  </a:cubicBezTo>
                  <a:close/>
                  <a:moveTo>
                    <a:pt x="4920" y="1471"/>
                  </a:moveTo>
                  <a:lnTo>
                    <a:pt x="4920" y="1471"/>
                  </a:lnTo>
                  <a:cubicBezTo>
                    <a:pt x="4894" y="1471"/>
                    <a:pt x="4887" y="1490"/>
                    <a:pt x="4874" y="1504"/>
                  </a:cubicBezTo>
                  <a:cubicBezTo>
                    <a:pt x="4867" y="1510"/>
                    <a:pt x="4854" y="1517"/>
                    <a:pt x="4854" y="1523"/>
                  </a:cubicBezTo>
                  <a:cubicBezTo>
                    <a:pt x="4854" y="1556"/>
                    <a:pt x="4887" y="1583"/>
                    <a:pt x="4920" y="1583"/>
                  </a:cubicBezTo>
                  <a:cubicBezTo>
                    <a:pt x="4940" y="1583"/>
                    <a:pt x="4953" y="1563"/>
                    <a:pt x="4973" y="1550"/>
                  </a:cubicBezTo>
                  <a:cubicBezTo>
                    <a:pt x="4986" y="1550"/>
                    <a:pt x="4999" y="1543"/>
                    <a:pt x="4999" y="1523"/>
                  </a:cubicBezTo>
                  <a:cubicBezTo>
                    <a:pt x="4999" y="1484"/>
                    <a:pt x="4959" y="1471"/>
                    <a:pt x="4920" y="1471"/>
                  </a:cubicBezTo>
                  <a:close/>
                  <a:moveTo>
                    <a:pt x="4801" y="1523"/>
                  </a:moveTo>
                  <a:lnTo>
                    <a:pt x="4801" y="1523"/>
                  </a:lnTo>
                  <a:cubicBezTo>
                    <a:pt x="4801" y="1490"/>
                    <a:pt x="4801" y="1471"/>
                    <a:pt x="4801" y="1444"/>
                  </a:cubicBezTo>
                  <a:cubicBezTo>
                    <a:pt x="4801" y="1418"/>
                    <a:pt x="4808" y="1398"/>
                    <a:pt x="4788" y="1378"/>
                  </a:cubicBezTo>
                  <a:cubicBezTo>
                    <a:pt x="4768" y="1352"/>
                    <a:pt x="4742" y="1358"/>
                    <a:pt x="4709" y="1345"/>
                  </a:cubicBezTo>
                  <a:cubicBezTo>
                    <a:pt x="4669" y="1325"/>
                    <a:pt x="4650" y="1292"/>
                    <a:pt x="4610" y="1273"/>
                  </a:cubicBezTo>
                  <a:lnTo>
                    <a:pt x="4610" y="1273"/>
                  </a:lnTo>
                  <a:cubicBezTo>
                    <a:pt x="4590" y="1260"/>
                    <a:pt x="4577" y="1240"/>
                    <a:pt x="4551" y="1240"/>
                  </a:cubicBezTo>
                  <a:cubicBezTo>
                    <a:pt x="4531" y="1240"/>
                    <a:pt x="4531" y="1260"/>
                    <a:pt x="4524" y="1279"/>
                  </a:cubicBezTo>
                  <a:cubicBezTo>
                    <a:pt x="4511" y="1299"/>
                    <a:pt x="4485" y="1306"/>
                    <a:pt x="4485" y="1325"/>
                  </a:cubicBezTo>
                  <a:cubicBezTo>
                    <a:pt x="4485" y="1358"/>
                    <a:pt x="4518" y="1372"/>
                    <a:pt x="4524" y="1398"/>
                  </a:cubicBezTo>
                  <a:cubicBezTo>
                    <a:pt x="4537" y="1424"/>
                    <a:pt x="4537" y="1451"/>
                    <a:pt x="4557" y="1477"/>
                  </a:cubicBezTo>
                  <a:cubicBezTo>
                    <a:pt x="4590" y="1504"/>
                    <a:pt x="4623" y="1490"/>
                    <a:pt x="4669" y="1504"/>
                  </a:cubicBezTo>
                  <a:cubicBezTo>
                    <a:pt x="4709" y="1510"/>
                    <a:pt x="4735" y="1517"/>
                    <a:pt x="4775" y="1523"/>
                  </a:cubicBezTo>
                  <a:cubicBezTo>
                    <a:pt x="4801" y="1523"/>
                    <a:pt x="4801" y="1523"/>
                    <a:pt x="4801" y="1523"/>
                  </a:cubicBezTo>
                  <a:close/>
                  <a:moveTo>
                    <a:pt x="4775" y="1523"/>
                  </a:moveTo>
                  <a:lnTo>
                    <a:pt x="4775" y="1523"/>
                  </a:lnTo>
                  <a:cubicBezTo>
                    <a:pt x="4801" y="1523"/>
                    <a:pt x="4801" y="1523"/>
                    <a:pt x="4801" y="1523"/>
                  </a:cubicBezTo>
                  <a:lnTo>
                    <a:pt x="6740" y="2137"/>
                  </a:lnTo>
                  <a:lnTo>
                    <a:pt x="6740" y="2137"/>
                  </a:lnTo>
                  <a:cubicBezTo>
                    <a:pt x="6708" y="2236"/>
                    <a:pt x="6701" y="2288"/>
                    <a:pt x="6668" y="2381"/>
                  </a:cubicBezTo>
                  <a:cubicBezTo>
                    <a:pt x="6648" y="2420"/>
                    <a:pt x="6609" y="2433"/>
                    <a:pt x="6609" y="2480"/>
                  </a:cubicBezTo>
                  <a:cubicBezTo>
                    <a:pt x="6609" y="2506"/>
                    <a:pt x="6641" y="2506"/>
                    <a:pt x="6648" y="2532"/>
                  </a:cubicBezTo>
                  <a:cubicBezTo>
                    <a:pt x="6661" y="2552"/>
                    <a:pt x="6655" y="2565"/>
                    <a:pt x="6655" y="2585"/>
                  </a:cubicBezTo>
                  <a:cubicBezTo>
                    <a:pt x="6655" y="2645"/>
                    <a:pt x="6615" y="2664"/>
                    <a:pt x="6595" y="2717"/>
                  </a:cubicBezTo>
                  <a:cubicBezTo>
                    <a:pt x="6556" y="2790"/>
                    <a:pt x="6562" y="2849"/>
                    <a:pt x="6516" y="2915"/>
                  </a:cubicBezTo>
                  <a:cubicBezTo>
                    <a:pt x="6490" y="2948"/>
                    <a:pt x="6457" y="2948"/>
                    <a:pt x="6424" y="2974"/>
                  </a:cubicBezTo>
                  <a:cubicBezTo>
                    <a:pt x="6397" y="2994"/>
                    <a:pt x="6404" y="3020"/>
                    <a:pt x="6391" y="3054"/>
                  </a:cubicBezTo>
                  <a:cubicBezTo>
                    <a:pt x="6371" y="3086"/>
                    <a:pt x="6365" y="3113"/>
                    <a:pt x="6351" y="3152"/>
                  </a:cubicBezTo>
                  <a:cubicBezTo>
                    <a:pt x="6338" y="3185"/>
                    <a:pt x="6338" y="3205"/>
                    <a:pt x="6325" y="3238"/>
                  </a:cubicBezTo>
                  <a:cubicBezTo>
                    <a:pt x="6312" y="3265"/>
                    <a:pt x="6292" y="3271"/>
                    <a:pt x="6292" y="3298"/>
                  </a:cubicBezTo>
                  <a:cubicBezTo>
                    <a:pt x="6292" y="3311"/>
                    <a:pt x="6298" y="3317"/>
                    <a:pt x="6298" y="3337"/>
                  </a:cubicBezTo>
                  <a:cubicBezTo>
                    <a:pt x="6298" y="3377"/>
                    <a:pt x="6252" y="3390"/>
                    <a:pt x="6226" y="3423"/>
                  </a:cubicBezTo>
                  <a:cubicBezTo>
                    <a:pt x="6206" y="3449"/>
                    <a:pt x="6199" y="3469"/>
                    <a:pt x="6186" y="3502"/>
                  </a:cubicBezTo>
                  <a:cubicBezTo>
                    <a:pt x="6153" y="3561"/>
                    <a:pt x="6160" y="3614"/>
                    <a:pt x="6101" y="3654"/>
                  </a:cubicBezTo>
                  <a:cubicBezTo>
                    <a:pt x="6081" y="3660"/>
                    <a:pt x="6068" y="3660"/>
                    <a:pt x="6048" y="3667"/>
                  </a:cubicBezTo>
                  <a:cubicBezTo>
                    <a:pt x="6008" y="3687"/>
                    <a:pt x="6002" y="3720"/>
                    <a:pt x="5975" y="3746"/>
                  </a:cubicBezTo>
                  <a:cubicBezTo>
                    <a:pt x="5955" y="3759"/>
                    <a:pt x="5962" y="3779"/>
                    <a:pt x="5949" y="3792"/>
                  </a:cubicBezTo>
                  <a:cubicBezTo>
                    <a:pt x="5923" y="3819"/>
                    <a:pt x="5909" y="3832"/>
                    <a:pt x="5870" y="3845"/>
                  </a:cubicBezTo>
                  <a:cubicBezTo>
                    <a:pt x="5850" y="3852"/>
                    <a:pt x="5843" y="3871"/>
                    <a:pt x="5817" y="3871"/>
                  </a:cubicBezTo>
                  <a:cubicBezTo>
                    <a:pt x="5804" y="3871"/>
                    <a:pt x="5797" y="3865"/>
                    <a:pt x="5777" y="3865"/>
                  </a:cubicBezTo>
                  <a:cubicBezTo>
                    <a:pt x="5652" y="3865"/>
                    <a:pt x="5580" y="3944"/>
                    <a:pt x="5507" y="4056"/>
                  </a:cubicBezTo>
                  <a:cubicBezTo>
                    <a:pt x="5467" y="4122"/>
                    <a:pt x="5434" y="4162"/>
                    <a:pt x="5408" y="4241"/>
                  </a:cubicBezTo>
                  <a:lnTo>
                    <a:pt x="5408" y="4241"/>
                  </a:lnTo>
                  <a:cubicBezTo>
                    <a:pt x="5408" y="4254"/>
                    <a:pt x="5395" y="4267"/>
                    <a:pt x="5395" y="4280"/>
                  </a:cubicBezTo>
                  <a:cubicBezTo>
                    <a:pt x="5395" y="4300"/>
                    <a:pt x="5428" y="4307"/>
                    <a:pt x="5441" y="4326"/>
                  </a:cubicBezTo>
                  <a:cubicBezTo>
                    <a:pt x="5487" y="4379"/>
                    <a:pt x="5533" y="4419"/>
                    <a:pt x="5533" y="4491"/>
                  </a:cubicBezTo>
                  <a:cubicBezTo>
                    <a:pt x="5533" y="4518"/>
                    <a:pt x="5500" y="4524"/>
                    <a:pt x="5487" y="4551"/>
                  </a:cubicBezTo>
                  <a:cubicBezTo>
                    <a:pt x="5474" y="4584"/>
                    <a:pt x="5487" y="4610"/>
                    <a:pt x="5481" y="4643"/>
                  </a:cubicBezTo>
                  <a:cubicBezTo>
                    <a:pt x="5474" y="4683"/>
                    <a:pt x="5454" y="4696"/>
                    <a:pt x="5448" y="4729"/>
                  </a:cubicBezTo>
                  <a:cubicBezTo>
                    <a:pt x="5441" y="4781"/>
                    <a:pt x="5434" y="4821"/>
                    <a:pt x="5408" y="4867"/>
                  </a:cubicBezTo>
                  <a:cubicBezTo>
                    <a:pt x="5395" y="4900"/>
                    <a:pt x="5382" y="4933"/>
                    <a:pt x="5349" y="4933"/>
                  </a:cubicBezTo>
                  <a:cubicBezTo>
                    <a:pt x="5336" y="4933"/>
                    <a:pt x="5329" y="4913"/>
                    <a:pt x="5316" y="4913"/>
                  </a:cubicBezTo>
                  <a:cubicBezTo>
                    <a:pt x="5276" y="4913"/>
                    <a:pt x="5276" y="4960"/>
                    <a:pt x="5269" y="4993"/>
                  </a:cubicBezTo>
                  <a:cubicBezTo>
                    <a:pt x="5263" y="5025"/>
                    <a:pt x="5250" y="5039"/>
                    <a:pt x="5230" y="5065"/>
                  </a:cubicBezTo>
                  <a:cubicBezTo>
                    <a:pt x="5217" y="5085"/>
                    <a:pt x="5217" y="5105"/>
                    <a:pt x="5190" y="5118"/>
                  </a:cubicBezTo>
                  <a:cubicBezTo>
                    <a:pt x="5144" y="5138"/>
                    <a:pt x="5111" y="5144"/>
                    <a:pt x="5065" y="5171"/>
                  </a:cubicBezTo>
                  <a:cubicBezTo>
                    <a:pt x="5012" y="5217"/>
                    <a:pt x="5012" y="5263"/>
                    <a:pt x="4986" y="5329"/>
                  </a:cubicBezTo>
                  <a:cubicBezTo>
                    <a:pt x="4959" y="5395"/>
                    <a:pt x="4894" y="5421"/>
                    <a:pt x="4894" y="5494"/>
                  </a:cubicBezTo>
                  <a:cubicBezTo>
                    <a:pt x="4894" y="5566"/>
                    <a:pt x="4999" y="5566"/>
                    <a:pt x="4999" y="5639"/>
                  </a:cubicBezTo>
                  <a:cubicBezTo>
                    <a:pt x="4999" y="5685"/>
                    <a:pt x="4999" y="5725"/>
                    <a:pt x="4959" y="5758"/>
                  </a:cubicBezTo>
                  <a:cubicBezTo>
                    <a:pt x="4946" y="5771"/>
                    <a:pt x="4926" y="5784"/>
                    <a:pt x="4926" y="5804"/>
                  </a:cubicBezTo>
                  <a:cubicBezTo>
                    <a:pt x="4926" y="5830"/>
                    <a:pt x="4926" y="5843"/>
                    <a:pt x="4926" y="5870"/>
                  </a:cubicBezTo>
                  <a:cubicBezTo>
                    <a:pt x="4926" y="5909"/>
                    <a:pt x="4894" y="5916"/>
                    <a:pt x="4874" y="5942"/>
                  </a:cubicBezTo>
                  <a:cubicBezTo>
                    <a:pt x="4801" y="6041"/>
                    <a:pt x="4709" y="6048"/>
                    <a:pt x="4643" y="6153"/>
                  </a:cubicBezTo>
                  <a:cubicBezTo>
                    <a:pt x="4603" y="6219"/>
                    <a:pt x="4584" y="6259"/>
                    <a:pt x="4551" y="6332"/>
                  </a:cubicBezTo>
                  <a:cubicBezTo>
                    <a:pt x="4531" y="6364"/>
                    <a:pt x="4511" y="6378"/>
                    <a:pt x="4498" y="6417"/>
                  </a:cubicBezTo>
                  <a:cubicBezTo>
                    <a:pt x="4485" y="6450"/>
                    <a:pt x="4478" y="6477"/>
                    <a:pt x="4452" y="6503"/>
                  </a:cubicBezTo>
                  <a:lnTo>
                    <a:pt x="4452" y="6503"/>
                  </a:lnTo>
                  <a:cubicBezTo>
                    <a:pt x="1399" y="6147"/>
                    <a:pt x="1399" y="6147"/>
                    <a:pt x="1399" y="6147"/>
                  </a:cubicBezTo>
                  <a:cubicBezTo>
                    <a:pt x="1372" y="6140"/>
                    <a:pt x="1379" y="6107"/>
                    <a:pt x="1359" y="6088"/>
                  </a:cubicBezTo>
                  <a:cubicBezTo>
                    <a:pt x="1339" y="6054"/>
                    <a:pt x="1306" y="6048"/>
                    <a:pt x="1280" y="6015"/>
                  </a:cubicBezTo>
                  <a:cubicBezTo>
                    <a:pt x="1234" y="5949"/>
                    <a:pt x="1207" y="5890"/>
                    <a:pt x="1135" y="5876"/>
                  </a:cubicBezTo>
                  <a:cubicBezTo>
                    <a:pt x="1056" y="5863"/>
                    <a:pt x="1043" y="5791"/>
                    <a:pt x="1010" y="5725"/>
                  </a:cubicBezTo>
                  <a:cubicBezTo>
                    <a:pt x="983" y="5672"/>
                    <a:pt x="976" y="5646"/>
                    <a:pt x="957" y="5593"/>
                  </a:cubicBezTo>
                  <a:cubicBezTo>
                    <a:pt x="950" y="5566"/>
                    <a:pt x="930" y="5553"/>
                    <a:pt x="930" y="5527"/>
                  </a:cubicBezTo>
                  <a:cubicBezTo>
                    <a:pt x="930" y="5474"/>
                    <a:pt x="983" y="5454"/>
                    <a:pt x="983" y="5401"/>
                  </a:cubicBezTo>
                  <a:cubicBezTo>
                    <a:pt x="983" y="5336"/>
                    <a:pt x="944" y="5303"/>
                    <a:pt x="911" y="5243"/>
                  </a:cubicBezTo>
                  <a:cubicBezTo>
                    <a:pt x="878" y="5191"/>
                    <a:pt x="845" y="5164"/>
                    <a:pt x="805" y="5118"/>
                  </a:cubicBezTo>
                  <a:lnTo>
                    <a:pt x="805" y="5118"/>
                  </a:lnTo>
                  <a:cubicBezTo>
                    <a:pt x="805" y="5092"/>
                    <a:pt x="799" y="5078"/>
                    <a:pt x="799" y="5052"/>
                  </a:cubicBezTo>
                  <a:cubicBezTo>
                    <a:pt x="799" y="5032"/>
                    <a:pt x="812" y="5019"/>
                    <a:pt x="812" y="4999"/>
                  </a:cubicBezTo>
                  <a:cubicBezTo>
                    <a:pt x="812" y="4973"/>
                    <a:pt x="785" y="4966"/>
                    <a:pt x="785" y="4933"/>
                  </a:cubicBezTo>
                  <a:cubicBezTo>
                    <a:pt x="785" y="4894"/>
                    <a:pt x="785" y="4867"/>
                    <a:pt x="785" y="4828"/>
                  </a:cubicBezTo>
                  <a:cubicBezTo>
                    <a:pt x="785" y="4781"/>
                    <a:pt x="825" y="4768"/>
                    <a:pt x="851" y="4742"/>
                  </a:cubicBezTo>
                  <a:cubicBezTo>
                    <a:pt x="864" y="4735"/>
                    <a:pt x="878" y="4735"/>
                    <a:pt x="884" y="4722"/>
                  </a:cubicBezTo>
                  <a:cubicBezTo>
                    <a:pt x="904" y="4696"/>
                    <a:pt x="897" y="4656"/>
                    <a:pt x="930" y="4656"/>
                  </a:cubicBezTo>
                  <a:cubicBezTo>
                    <a:pt x="944" y="4656"/>
                    <a:pt x="950" y="4663"/>
                    <a:pt x="957" y="4663"/>
                  </a:cubicBezTo>
                  <a:cubicBezTo>
                    <a:pt x="1517" y="2427"/>
                    <a:pt x="1517" y="2427"/>
                    <a:pt x="1517" y="2427"/>
                  </a:cubicBezTo>
                  <a:cubicBezTo>
                    <a:pt x="1465" y="2407"/>
                    <a:pt x="1432" y="2394"/>
                    <a:pt x="1379" y="2381"/>
                  </a:cubicBezTo>
                  <a:cubicBezTo>
                    <a:pt x="1339" y="2381"/>
                    <a:pt x="1319" y="2394"/>
                    <a:pt x="1287" y="2374"/>
                  </a:cubicBezTo>
                  <a:cubicBezTo>
                    <a:pt x="1247" y="2354"/>
                    <a:pt x="1247" y="2321"/>
                    <a:pt x="1207" y="2308"/>
                  </a:cubicBezTo>
                  <a:cubicBezTo>
                    <a:pt x="1161" y="2288"/>
                    <a:pt x="1128" y="2288"/>
                    <a:pt x="1095" y="2255"/>
                  </a:cubicBezTo>
                  <a:cubicBezTo>
                    <a:pt x="1049" y="2229"/>
                    <a:pt x="1036" y="2196"/>
                    <a:pt x="990" y="2176"/>
                  </a:cubicBezTo>
                  <a:cubicBezTo>
                    <a:pt x="944" y="2163"/>
                    <a:pt x="917" y="2183"/>
                    <a:pt x="871" y="2176"/>
                  </a:cubicBezTo>
                  <a:cubicBezTo>
                    <a:pt x="825" y="2176"/>
                    <a:pt x="805" y="2170"/>
                    <a:pt x="759" y="2170"/>
                  </a:cubicBezTo>
                  <a:cubicBezTo>
                    <a:pt x="732" y="2170"/>
                    <a:pt x="719" y="2176"/>
                    <a:pt x="693" y="2176"/>
                  </a:cubicBezTo>
                  <a:cubicBezTo>
                    <a:pt x="647" y="2176"/>
                    <a:pt x="640" y="2137"/>
                    <a:pt x="607" y="2117"/>
                  </a:cubicBezTo>
                  <a:cubicBezTo>
                    <a:pt x="561" y="2077"/>
                    <a:pt x="521" y="2071"/>
                    <a:pt x="475" y="2031"/>
                  </a:cubicBezTo>
                  <a:cubicBezTo>
                    <a:pt x="449" y="2011"/>
                    <a:pt x="422" y="2005"/>
                    <a:pt x="396" y="1978"/>
                  </a:cubicBezTo>
                  <a:cubicBezTo>
                    <a:pt x="383" y="1952"/>
                    <a:pt x="390" y="1932"/>
                    <a:pt x="383" y="1906"/>
                  </a:cubicBezTo>
                  <a:cubicBezTo>
                    <a:pt x="376" y="1879"/>
                    <a:pt x="370" y="1866"/>
                    <a:pt x="370" y="1833"/>
                  </a:cubicBezTo>
                  <a:cubicBezTo>
                    <a:pt x="363" y="1800"/>
                    <a:pt x="324" y="1794"/>
                    <a:pt x="284" y="1787"/>
                  </a:cubicBezTo>
                  <a:cubicBezTo>
                    <a:pt x="238" y="1774"/>
                    <a:pt x="231" y="1734"/>
                    <a:pt x="198" y="1695"/>
                  </a:cubicBezTo>
                  <a:cubicBezTo>
                    <a:pt x="185" y="1675"/>
                    <a:pt x="172" y="1675"/>
                    <a:pt x="159" y="1655"/>
                  </a:cubicBezTo>
                  <a:cubicBezTo>
                    <a:pt x="119" y="1629"/>
                    <a:pt x="113" y="1596"/>
                    <a:pt x="79" y="1563"/>
                  </a:cubicBezTo>
                  <a:cubicBezTo>
                    <a:pt x="53" y="1536"/>
                    <a:pt x="40" y="1523"/>
                    <a:pt x="40" y="1490"/>
                  </a:cubicBezTo>
                  <a:cubicBezTo>
                    <a:pt x="40" y="1444"/>
                    <a:pt x="40" y="1418"/>
                    <a:pt x="40" y="1372"/>
                  </a:cubicBezTo>
                  <a:cubicBezTo>
                    <a:pt x="40" y="1332"/>
                    <a:pt x="27" y="1306"/>
                    <a:pt x="27" y="1266"/>
                  </a:cubicBezTo>
                  <a:cubicBezTo>
                    <a:pt x="0" y="659"/>
                    <a:pt x="0" y="659"/>
                    <a:pt x="0" y="659"/>
                  </a:cubicBezTo>
                  <a:lnTo>
                    <a:pt x="0" y="659"/>
                  </a:lnTo>
                  <a:cubicBezTo>
                    <a:pt x="0" y="666"/>
                    <a:pt x="7" y="666"/>
                    <a:pt x="7" y="666"/>
                  </a:cubicBezTo>
                  <a:cubicBezTo>
                    <a:pt x="40" y="686"/>
                    <a:pt x="60" y="672"/>
                    <a:pt x="93" y="679"/>
                  </a:cubicBezTo>
                  <a:cubicBezTo>
                    <a:pt x="159" y="699"/>
                    <a:pt x="198" y="712"/>
                    <a:pt x="271" y="712"/>
                  </a:cubicBezTo>
                  <a:cubicBezTo>
                    <a:pt x="310" y="712"/>
                    <a:pt x="324" y="679"/>
                    <a:pt x="357" y="653"/>
                  </a:cubicBezTo>
                  <a:cubicBezTo>
                    <a:pt x="409" y="607"/>
                    <a:pt x="456" y="600"/>
                    <a:pt x="528" y="587"/>
                  </a:cubicBezTo>
                  <a:cubicBezTo>
                    <a:pt x="607" y="593"/>
                    <a:pt x="607" y="593"/>
                    <a:pt x="607" y="593"/>
                  </a:cubicBezTo>
                  <a:cubicBezTo>
                    <a:pt x="660" y="593"/>
                    <a:pt x="660" y="593"/>
                    <a:pt x="660" y="593"/>
                  </a:cubicBezTo>
                  <a:cubicBezTo>
                    <a:pt x="660" y="560"/>
                    <a:pt x="667" y="534"/>
                    <a:pt x="700" y="514"/>
                  </a:cubicBezTo>
                  <a:cubicBezTo>
                    <a:pt x="746" y="481"/>
                    <a:pt x="785" y="501"/>
                    <a:pt x="845" y="488"/>
                  </a:cubicBezTo>
                  <a:cubicBezTo>
                    <a:pt x="930" y="468"/>
                    <a:pt x="944" y="356"/>
                    <a:pt x="1036" y="356"/>
                  </a:cubicBezTo>
                  <a:cubicBezTo>
                    <a:pt x="1062" y="356"/>
                    <a:pt x="1082" y="356"/>
                    <a:pt x="1102" y="369"/>
                  </a:cubicBezTo>
                  <a:cubicBezTo>
                    <a:pt x="1115" y="376"/>
                    <a:pt x="1115" y="389"/>
                    <a:pt x="1128" y="395"/>
                  </a:cubicBezTo>
                  <a:cubicBezTo>
                    <a:pt x="1174" y="409"/>
                    <a:pt x="1201" y="415"/>
                    <a:pt x="1247" y="415"/>
                  </a:cubicBezTo>
                  <a:cubicBezTo>
                    <a:pt x="1280" y="415"/>
                    <a:pt x="1293" y="415"/>
                    <a:pt x="1326" y="415"/>
                  </a:cubicBezTo>
                  <a:cubicBezTo>
                    <a:pt x="1339" y="415"/>
                    <a:pt x="1339" y="395"/>
                    <a:pt x="1353" y="389"/>
                  </a:cubicBezTo>
                  <a:cubicBezTo>
                    <a:pt x="1379" y="369"/>
                    <a:pt x="1405" y="363"/>
                    <a:pt x="1432" y="343"/>
                  </a:cubicBezTo>
                  <a:lnTo>
                    <a:pt x="1432" y="343"/>
                  </a:lnTo>
                  <a:cubicBezTo>
                    <a:pt x="1471" y="363"/>
                    <a:pt x="1504" y="369"/>
                    <a:pt x="1550" y="382"/>
                  </a:cubicBezTo>
                  <a:cubicBezTo>
                    <a:pt x="1597" y="395"/>
                    <a:pt x="1623" y="409"/>
                    <a:pt x="1669" y="409"/>
                  </a:cubicBezTo>
                  <a:cubicBezTo>
                    <a:pt x="1702" y="409"/>
                    <a:pt x="1729" y="382"/>
                    <a:pt x="1729" y="349"/>
                  </a:cubicBezTo>
                  <a:cubicBezTo>
                    <a:pt x="1729" y="336"/>
                    <a:pt x="1709" y="336"/>
                    <a:pt x="1702" y="323"/>
                  </a:cubicBezTo>
                  <a:cubicBezTo>
                    <a:pt x="1662" y="270"/>
                    <a:pt x="1603" y="257"/>
                    <a:pt x="1603" y="191"/>
                  </a:cubicBezTo>
                  <a:cubicBezTo>
                    <a:pt x="1603" y="151"/>
                    <a:pt x="1643" y="145"/>
                    <a:pt x="1662" y="112"/>
                  </a:cubicBezTo>
                  <a:cubicBezTo>
                    <a:pt x="1689" y="72"/>
                    <a:pt x="1676" y="39"/>
                    <a:pt x="1709" y="13"/>
                  </a:cubicBezTo>
                  <a:cubicBezTo>
                    <a:pt x="1794" y="46"/>
                    <a:pt x="1847" y="66"/>
                    <a:pt x="1940" y="66"/>
                  </a:cubicBezTo>
                  <a:cubicBezTo>
                    <a:pt x="2025" y="66"/>
                    <a:pt x="2065" y="0"/>
                    <a:pt x="2151" y="0"/>
                  </a:cubicBezTo>
                  <a:cubicBezTo>
                    <a:pt x="2190" y="0"/>
                    <a:pt x="2217" y="20"/>
                    <a:pt x="2243" y="46"/>
                  </a:cubicBezTo>
                  <a:cubicBezTo>
                    <a:pt x="2269" y="66"/>
                    <a:pt x="2296" y="66"/>
                    <a:pt x="2316" y="85"/>
                  </a:cubicBezTo>
                  <a:cubicBezTo>
                    <a:pt x="2335" y="105"/>
                    <a:pt x="2347" y="118"/>
                    <a:pt x="2367" y="138"/>
                  </a:cubicBezTo>
                  <a:lnTo>
                    <a:pt x="2367" y="138"/>
                  </a:lnTo>
                  <a:cubicBezTo>
                    <a:pt x="2361" y="197"/>
                    <a:pt x="2361" y="231"/>
                    <a:pt x="2342" y="283"/>
                  </a:cubicBezTo>
                  <a:cubicBezTo>
                    <a:pt x="2329" y="323"/>
                    <a:pt x="2309" y="343"/>
                    <a:pt x="2309" y="376"/>
                  </a:cubicBezTo>
                  <a:cubicBezTo>
                    <a:pt x="2309" y="395"/>
                    <a:pt x="2329" y="402"/>
                    <a:pt x="2347" y="409"/>
                  </a:cubicBezTo>
                  <a:cubicBezTo>
                    <a:pt x="2400" y="448"/>
                    <a:pt x="2433" y="468"/>
                    <a:pt x="2479" y="521"/>
                  </a:cubicBezTo>
                  <a:cubicBezTo>
                    <a:pt x="2532" y="587"/>
                    <a:pt x="2532" y="653"/>
                    <a:pt x="2545" y="738"/>
                  </a:cubicBezTo>
                  <a:cubicBezTo>
                    <a:pt x="2552" y="778"/>
                    <a:pt x="2572" y="798"/>
                    <a:pt x="2611" y="818"/>
                  </a:cubicBezTo>
                  <a:cubicBezTo>
                    <a:pt x="2651" y="837"/>
                    <a:pt x="2664" y="864"/>
                    <a:pt x="2710" y="870"/>
                  </a:cubicBezTo>
                  <a:cubicBezTo>
                    <a:pt x="2730" y="877"/>
                    <a:pt x="2743" y="864"/>
                    <a:pt x="2763" y="877"/>
                  </a:cubicBezTo>
                  <a:cubicBezTo>
                    <a:pt x="2783" y="883"/>
                    <a:pt x="2776" y="910"/>
                    <a:pt x="2789" y="930"/>
                  </a:cubicBezTo>
                  <a:cubicBezTo>
                    <a:pt x="2803" y="963"/>
                    <a:pt x="2822" y="976"/>
                    <a:pt x="2855" y="989"/>
                  </a:cubicBezTo>
                  <a:cubicBezTo>
                    <a:pt x="2921" y="1035"/>
                    <a:pt x="2974" y="1042"/>
                    <a:pt x="3027" y="1101"/>
                  </a:cubicBezTo>
                  <a:cubicBezTo>
                    <a:pt x="3053" y="1128"/>
                    <a:pt x="3053" y="1154"/>
                    <a:pt x="3060" y="1187"/>
                  </a:cubicBezTo>
                  <a:cubicBezTo>
                    <a:pt x="3067" y="1240"/>
                    <a:pt x="3099" y="1266"/>
                    <a:pt x="3119" y="1312"/>
                  </a:cubicBezTo>
                  <a:cubicBezTo>
                    <a:pt x="3159" y="1391"/>
                    <a:pt x="3165" y="1451"/>
                    <a:pt x="3231" y="1510"/>
                  </a:cubicBezTo>
                  <a:cubicBezTo>
                    <a:pt x="3264" y="1536"/>
                    <a:pt x="3278" y="1556"/>
                    <a:pt x="3311" y="1583"/>
                  </a:cubicBezTo>
                  <a:cubicBezTo>
                    <a:pt x="3343" y="1603"/>
                    <a:pt x="3390" y="1616"/>
                    <a:pt x="3390" y="1662"/>
                  </a:cubicBezTo>
                  <a:cubicBezTo>
                    <a:pt x="3390" y="1695"/>
                    <a:pt x="3390" y="1715"/>
                    <a:pt x="3390" y="1748"/>
                  </a:cubicBezTo>
                  <a:cubicBezTo>
                    <a:pt x="3390" y="1800"/>
                    <a:pt x="3456" y="1787"/>
                    <a:pt x="3508" y="1800"/>
                  </a:cubicBezTo>
                  <a:cubicBezTo>
                    <a:pt x="3555" y="1807"/>
                    <a:pt x="3548" y="1860"/>
                    <a:pt x="3555" y="1906"/>
                  </a:cubicBezTo>
                  <a:cubicBezTo>
                    <a:pt x="3574" y="1965"/>
                    <a:pt x="3614" y="1985"/>
                    <a:pt x="3667" y="2011"/>
                  </a:cubicBezTo>
                  <a:cubicBezTo>
                    <a:pt x="3700" y="2031"/>
                    <a:pt x="3719" y="2038"/>
                    <a:pt x="3753" y="2051"/>
                  </a:cubicBezTo>
                  <a:cubicBezTo>
                    <a:pt x="3719" y="2084"/>
                    <a:pt x="3733" y="2110"/>
                    <a:pt x="3713" y="2150"/>
                  </a:cubicBezTo>
                  <a:lnTo>
                    <a:pt x="3713" y="2150"/>
                  </a:lnTo>
                  <a:cubicBezTo>
                    <a:pt x="3713" y="2150"/>
                    <a:pt x="3713" y="2150"/>
                    <a:pt x="3706" y="2150"/>
                  </a:cubicBezTo>
                  <a:cubicBezTo>
                    <a:pt x="3673" y="2150"/>
                    <a:pt x="3660" y="2176"/>
                    <a:pt x="3627" y="2183"/>
                  </a:cubicBezTo>
                  <a:cubicBezTo>
                    <a:pt x="3607" y="2189"/>
                    <a:pt x="3581" y="2196"/>
                    <a:pt x="3581" y="2216"/>
                  </a:cubicBezTo>
                  <a:cubicBezTo>
                    <a:pt x="3581" y="2255"/>
                    <a:pt x="3601" y="2275"/>
                    <a:pt x="3601" y="2321"/>
                  </a:cubicBezTo>
                  <a:cubicBezTo>
                    <a:pt x="3673" y="2275"/>
                    <a:pt x="3726" y="2262"/>
                    <a:pt x="3799" y="2222"/>
                  </a:cubicBezTo>
                  <a:cubicBezTo>
                    <a:pt x="3871" y="2189"/>
                    <a:pt x="3898" y="2117"/>
                    <a:pt x="3983" y="2110"/>
                  </a:cubicBezTo>
                  <a:cubicBezTo>
                    <a:pt x="4062" y="2110"/>
                    <a:pt x="4115" y="2064"/>
                    <a:pt x="4161" y="1998"/>
                  </a:cubicBezTo>
                  <a:cubicBezTo>
                    <a:pt x="4201" y="1932"/>
                    <a:pt x="4194" y="1827"/>
                    <a:pt x="4267" y="1827"/>
                  </a:cubicBezTo>
                  <a:cubicBezTo>
                    <a:pt x="4293" y="1827"/>
                    <a:pt x="4287" y="1860"/>
                    <a:pt x="4287" y="1879"/>
                  </a:cubicBezTo>
                  <a:cubicBezTo>
                    <a:pt x="4287" y="1939"/>
                    <a:pt x="4287" y="1972"/>
                    <a:pt x="4287" y="2025"/>
                  </a:cubicBezTo>
                  <a:cubicBezTo>
                    <a:pt x="4320" y="2031"/>
                    <a:pt x="4340" y="2038"/>
                    <a:pt x="4372" y="2038"/>
                  </a:cubicBezTo>
                  <a:cubicBezTo>
                    <a:pt x="4392" y="2038"/>
                    <a:pt x="4392" y="2011"/>
                    <a:pt x="4399" y="1998"/>
                  </a:cubicBezTo>
                  <a:cubicBezTo>
                    <a:pt x="4405" y="1959"/>
                    <a:pt x="4412" y="1939"/>
                    <a:pt x="4419" y="1899"/>
                  </a:cubicBezTo>
                  <a:cubicBezTo>
                    <a:pt x="4425" y="1840"/>
                    <a:pt x="4425" y="1800"/>
                    <a:pt x="4445" y="1748"/>
                  </a:cubicBezTo>
                  <a:cubicBezTo>
                    <a:pt x="4458" y="1715"/>
                    <a:pt x="4458" y="1688"/>
                    <a:pt x="4485" y="1668"/>
                  </a:cubicBezTo>
                  <a:cubicBezTo>
                    <a:pt x="4551" y="1616"/>
                    <a:pt x="4603" y="1616"/>
                    <a:pt x="4683" y="1616"/>
                  </a:cubicBezTo>
                  <a:cubicBezTo>
                    <a:pt x="4755" y="1616"/>
                    <a:pt x="4795" y="1649"/>
                    <a:pt x="4867" y="1649"/>
                  </a:cubicBezTo>
                  <a:cubicBezTo>
                    <a:pt x="4979" y="1649"/>
                    <a:pt x="5025" y="1569"/>
                    <a:pt x="5144" y="1569"/>
                  </a:cubicBezTo>
                  <a:cubicBezTo>
                    <a:pt x="5190" y="1569"/>
                    <a:pt x="5217" y="1596"/>
                    <a:pt x="5263" y="1616"/>
                  </a:cubicBezTo>
                  <a:cubicBezTo>
                    <a:pt x="5296" y="1629"/>
                    <a:pt x="5316" y="1629"/>
                    <a:pt x="5355" y="1635"/>
                  </a:cubicBezTo>
                  <a:cubicBezTo>
                    <a:pt x="5382" y="1642"/>
                    <a:pt x="5395" y="1649"/>
                    <a:pt x="5421" y="1655"/>
                  </a:cubicBezTo>
                  <a:cubicBezTo>
                    <a:pt x="5461" y="1662"/>
                    <a:pt x="5507" y="1675"/>
                    <a:pt x="5507" y="1715"/>
                  </a:cubicBezTo>
                  <a:cubicBezTo>
                    <a:pt x="5507" y="1741"/>
                    <a:pt x="5481" y="1748"/>
                    <a:pt x="5474" y="1774"/>
                  </a:cubicBezTo>
                  <a:cubicBezTo>
                    <a:pt x="5454" y="1807"/>
                    <a:pt x="5448" y="1827"/>
                    <a:pt x="5448" y="1866"/>
                  </a:cubicBezTo>
                  <a:cubicBezTo>
                    <a:pt x="5448" y="1906"/>
                    <a:pt x="5448" y="1932"/>
                    <a:pt x="5448" y="1972"/>
                  </a:cubicBezTo>
                  <a:cubicBezTo>
                    <a:pt x="5421" y="1998"/>
                    <a:pt x="5415" y="2025"/>
                    <a:pt x="5401" y="2051"/>
                  </a:cubicBezTo>
                  <a:cubicBezTo>
                    <a:pt x="5342" y="2163"/>
                    <a:pt x="5289" y="2262"/>
                    <a:pt x="5164" y="2269"/>
                  </a:cubicBezTo>
                  <a:cubicBezTo>
                    <a:pt x="4999" y="2282"/>
                    <a:pt x="4913" y="2354"/>
                    <a:pt x="4748" y="2354"/>
                  </a:cubicBezTo>
                  <a:cubicBezTo>
                    <a:pt x="4683" y="2354"/>
                    <a:pt x="4650" y="2334"/>
                    <a:pt x="4584" y="2334"/>
                  </a:cubicBezTo>
                  <a:cubicBezTo>
                    <a:pt x="4531" y="2334"/>
                    <a:pt x="4498" y="2348"/>
                    <a:pt x="4445" y="2354"/>
                  </a:cubicBezTo>
                  <a:cubicBezTo>
                    <a:pt x="4399" y="2361"/>
                    <a:pt x="4372" y="2348"/>
                    <a:pt x="4333" y="2361"/>
                  </a:cubicBezTo>
                  <a:cubicBezTo>
                    <a:pt x="4346" y="2387"/>
                    <a:pt x="4372" y="2394"/>
                    <a:pt x="4405" y="2401"/>
                  </a:cubicBezTo>
                  <a:cubicBezTo>
                    <a:pt x="4452" y="2420"/>
                    <a:pt x="4478" y="2440"/>
                    <a:pt x="4531" y="2440"/>
                  </a:cubicBezTo>
                  <a:cubicBezTo>
                    <a:pt x="4557" y="2440"/>
                    <a:pt x="4570" y="2440"/>
                    <a:pt x="4597" y="2440"/>
                  </a:cubicBezTo>
                  <a:lnTo>
                    <a:pt x="4597" y="2440"/>
                  </a:lnTo>
                  <a:cubicBezTo>
                    <a:pt x="5045" y="2374"/>
                    <a:pt x="5045" y="2374"/>
                    <a:pt x="5045" y="2374"/>
                  </a:cubicBezTo>
                  <a:lnTo>
                    <a:pt x="5045" y="2374"/>
                  </a:lnTo>
                  <a:cubicBezTo>
                    <a:pt x="5045" y="2394"/>
                    <a:pt x="5045" y="2401"/>
                    <a:pt x="5045" y="2420"/>
                  </a:cubicBezTo>
                  <a:cubicBezTo>
                    <a:pt x="5045" y="2493"/>
                    <a:pt x="5006" y="2526"/>
                    <a:pt x="4973" y="2592"/>
                  </a:cubicBezTo>
                  <a:cubicBezTo>
                    <a:pt x="4946" y="2645"/>
                    <a:pt x="4946" y="2684"/>
                    <a:pt x="4946" y="2744"/>
                  </a:cubicBezTo>
                  <a:cubicBezTo>
                    <a:pt x="4946" y="2757"/>
                    <a:pt x="4953" y="2763"/>
                    <a:pt x="4959" y="2776"/>
                  </a:cubicBezTo>
                  <a:cubicBezTo>
                    <a:pt x="4979" y="2750"/>
                    <a:pt x="4979" y="2724"/>
                    <a:pt x="4993" y="2697"/>
                  </a:cubicBezTo>
                  <a:cubicBezTo>
                    <a:pt x="5012" y="2658"/>
                    <a:pt x="5025" y="2631"/>
                    <a:pt x="5052" y="2598"/>
                  </a:cubicBezTo>
                  <a:cubicBezTo>
                    <a:pt x="5078" y="2552"/>
                    <a:pt x="5091" y="2526"/>
                    <a:pt x="5118" y="2473"/>
                  </a:cubicBezTo>
                  <a:cubicBezTo>
                    <a:pt x="5184" y="2381"/>
                    <a:pt x="5243" y="2348"/>
                    <a:pt x="5336" y="2275"/>
                  </a:cubicBezTo>
                  <a:cubicBezTo>
                    <a:pt x="5355" y="2295"/>
                    <a:pt x="5355" y="2321"/>
                    <a:pt x="5382" y="2328"/>
                  </a:cubicBezTo>
                  <a:cubicBezTo>
                    <a:pt x="5434" y="2341"/>
                    <a:pt x="5467" y="2348"/>
                    <a:pt x="5520" y="2348"/>
                  </a:cubicBezTo>
                  <a:cubicBezTo>
                    <a:pt x="5540" y="2348"/>
                    <a:pt x="5540" y="2321"/>
                    <a:pt x="5540" y="2302"/>
                  </a:cubicBezTo>
                  <a:cubicBezTo>
                    <a:pt x="5540" y="2269"/>
                    <a:pt x="5540" y="2249"/>
                    <a:pt x="5540" y="2216"/>
                  </a:cubicBezTo>
                  <a:cubicBezTo>
                    <a:pt x="5540" y="2176"/>
                    <a:pt x="5573" y="2163"/>
                    <a:pt x="5573" y="2123"/>
                  </a:cubicBezTo>
                  <a:cubicBezTo>
                    <a:pt x="5573" y="2084"/>
                    <a:pt x="5573" y="2058"/>
                    <a:pt x="5573" y="2018"/>
                  </a:cubicBezTo>
                  <a:cubicBezTo>
                    <a:pt x="5573" y="1992"/>
                    <a:pt x="5599" y="1985"/>
                    <a:pt x="5619" y="1978"/>
                  </a:cubicBezTo>
                  <a:cubicBezTo>
                    <a:pt x="5659" y="1952"/>
                    <a:pt x="5679" y="1932"/>
                    <a:pt x="5711" y="1893"/>
                  </a:cubicBezTo>
                  <a:cubicBezTo>
                    <a:pt x="5718" y="1893"/>
                    <a:pt x="5718" y="1899"/>
                    <a:pt x="5725" y="1899"/>
                  </a:cubicBezTo>
                  <a:cubicBezTo>
                    <a:pt x="5791" y="1899"/>
                    <a:pt x="5830" y="1879"/>
                    <a:pt x="5896" y="1879"/>
                  </a:cubicBezTo>
                  <a:cubicBezTo>
                    <a:pt x="5942" y="1879"/>
                    <a:pt x="5962" y="1879"/>
                    <a:pt x="6008" y="1886"/>
                  </a:cubicBezTo>
                  <a:cubicBezTo>
                    <a:pt x="6041" y="1893"/>
                    <a:pt x="6048" y="1919"/>
                    <a:pt x="6081" y="1932"/>
                  </a:cubicBezTo>
                  <a:cubicBezTo>
                    <a:pt x="6153" y="1959"/>
                    <a:pt x="6206" y="1959"/>
                    <a:pt x="6285" y="1965"/>
                  </a:cubicBezTo>
                  <a:cubicBezTo>
                    <a:pt x="6378" y="1978"/>
                    <a:pt x="6424" y="2018"/>
                    <a:pt x="6516" y="2025"/>
                  </a:cubicBezTo>
                  <a:cubicBezTo>
                    <a:pt x="6595" y="2064"/>
                    <a:pt x="6648" y="2077"/>
                    <a:pt x="6721" y="2130"/>
                  </a:cubicBezTo>
                  <a:cubicBezTo>
                    <a:pt x="6727" y="2130"/>
                    <a:pt x="6734" y="2137"/>
                    <a:pt x="6740" y="2137"/>
                  </a:cubicBezTo>
                  <a:lnTo>
                    <a:pt x="4775" y="152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" name="Freeform 32"/>
            <p:cNvSpPr>
              <a:spLocks noChangeArrowheads="1"/>
            </p:cNvSpPr>
            <p:nvPr/>
          </p:nvSpPr>
          <p:spPr bwMode="auto">
            <a:xfrm>
              <a:off x="6861522" y="3563932"/>
              <a:ext cx="876243" cy="1047750"/>
            </a:xfrm>
            <a:custGeom>
              <a:avLst/>
              <a:gdLst>
                <a:gd name="T0" fmla="*/ 2222 w 2434"/>
                <a:gd name="T1" fmla="*/ 1016 h 2910"/>
                <a:gd name="T2" fmla="*/ 2149 w 2434"/>
                <a:gd name="T3" fmla="*/ 1029 h 2910"/>
                <a:gd name="T4" fmla="*/ 2195 w 2434"/>
                <a:gd name="T5" fmla="*/ 1247 h 2910"/>
                <a:gd name="T6" fmla="*/ 2301 w 2434"/>
                <a:gd name="T7" fmla="*/ 1135 h 2910"/>
                <a:gd name="T8" fmla="*/ 58 w 2434"/>
                <a:gd name="T9" fmla="*/ 884 h 2910"/>
                <a:gd name="T10" fmla="*/ 118 w 2434"/>
                <a:gd name="T11" fmla="*/ 917 h 2910"/>
                <a:gd name="T12" fmla="*/ 203 w 2434"/>
                <a:gd name="T13" fmla="*/ 1049 h 2910"/>
                <a:gd name="T14" fmla="*/ 368 w 2434"/>
                <a:gd name="T15" fmla="*/ 1109 h 2910"/>
                <a:gd name="T16" fmla="*/ 533 w 2434"/>
                <a:gd name="T17" fmla="*/ 1148 h 2910"/>
                <a:gd name="T18" fmla="*/ 691 w 2434"/>
                <a:gd name="T19" fmla="*/ 1207 h 2910"/>
                <a:gd name="T20" fmla="*/ 711 w 2434"/>
                <a:gd name="T21" fmla="*/ 1069 h 2910"/>
                <a:gd name="T22" fmla="*/ 975 w 2434"/>
                <a:gd name="T23" fmla="*/ 983 h 2910"/>
                <a:gd name="T24" fmla="*/ 1114 w 2434"/>
                <a:gd name="T25" fmla="*/ 911 h 2910"/>
                <a:gd name="T26" fmla="*/ 1206 w 2434"/>
                <a:gd name="T27" fmla="*/ 726 h 2910"/>
                <a:gd name="T28" fmla="*/ 1265 w 2434"/>
                <a:gd name="T29" fmla="*/ 521 h 2910"/>
                <a:gd name="T30" fmla="*/ 1490 w 2434"/>
                <a:gd name="T31" fmla="*/ 218 h 2910"/>
                <a:gd name="T32" fmla="*/ 1602 w 2434"/>
                <a:gd name="T33" fmla="*/ 27 h 2910"/>
                <a:gd name="T34" fmla="*/ 1734 w 2434"/>
                <a:gd name="T35" fmla="*/ 46 h 2910"/>
                <a:gd name="T36" fmla="*/ 1819 w 2434"/>
                <a:gd name="T37" fmla="*/ 238 h 2910"/>
                <a:gd name="T38" fmla="*/ 1899 w 2434"/>
                <a:gd name="T39" fmla="*/ 357 h 2910"/>
                <a:gd name="T40" fmla="*/ 1925 w 2434"/>
                <a:gd name="T41" fmla="*/ 634 h 2910"/>
                <a:gd name="T42" fmla="*/ 2031 w 2434"/>
                <a:gd name="T43" fmla="*/ 1023 h 2910"/>
                <a:gd name="T44" fmla="*/ 2070 w 2434"/>
                <a:gd name="T45" fmla="*/ 1148 h 2910"/>
                <a:gd name="T46" fmla="*/ 2136 w 2434"/>
                <a:gd name="T47" fmla="*/ 1273 h 2910"/>
                <a:gd name="T48" fmla="*/ 2380 w 2434"/>
                <a:gd name="T49" fmla="*/ 1326 h 2910"/>
                <a:gd name="T50" fmla="*/ 2433 w 2434"/>
                <a:gd name="T51" fmla="*/ 1452 h 2910"/>
                <a:gd name="T52" fmla="*/ 2301 w 2434"/>
                <a:gd name="T53" fmla="*/ 1544 h 2910"/>
                <a:gd name="T54" fmla="*/ 2380 w 2434"/>
                <a:gd name="T55" fmla="*/ 1702 h 2910"/>
                <a:gd name="T56" fmla="*/ 1964 w 2434"/>
                <a:gd name="T57" fmla="*/ 2052 h 2910"/>
                <a:gd name="T58" fmla="*/ 1707 w 2434"/>
                <a:gd name="T59" fmla="*/ 2329 h 2910"/>
                <a:gd name="T60" fmla="*/ 1655 w 2434"/>
                <a:gd name="T61" fmla="*/ 2467 h 2910"/>
                <a:gd name="T62" fmla="*/ 1720 w 2434"/>
                <a:gd name="T63" fmla="*/ 2467 h 2910"/>
                <a:gd name="T64" fmla="*/ 1688 w 2434"/>
                <a:gd name="T65" fmla="*/ 2599 h 2910"/>
                <a:gd name="T66" fmla="*/ 1648 w 2434"/>
                <a:gd name="T67" fmla="*/ 2738 h 2910"/>
                <a:gd name="T68" fmla="*/ 1536 w 2434"/>
                <a:gd name="T69" fmla="*/ 2856 h 2910"/>
                <a:gd name="T70" fmla="*/ 1404 w 2434"/>
                <a:gd name="T71" fmla="*/ 2896 h 2910"/>
                <a:gd name="T72" fmla="*/ 1444 w 2434"/>
                <a:gd name="T73" fmla="*/ 2797 h 2910"/>
                <a:gd name="T74" fmla="*/ 1246 w 2434"/>
                <a:gd name="T75" fmla="*/ 2652 h 2910"/>
                <a:gd name="T76" fmla="*/ 1081 w 2434"/>
                <a:gd name="T77" fmla="*/ 2494 h 2910"/>
                <a:gd name="T78" fmla="*/ 1002 w 2434"/>
                <a:gd name="T79" fmla="*/ 2329 h 2910"/>
                <a:gd name="T80" fmla="*/ 810 w 2434"/>
                <a:gd name="T81" fmla="*/ 2058 h 2910"/>
                <a:gd name="T82" fmla="*/ 718 w 2434"/>
                <a:gd name="T83" fmla="*/ 1847 h 2910"/>
                <a:gd name="T84" fmla="*/ 480 w 2434"/>
                <a:gd name="T85" fmla="*/ 1676 h 2910"/>
                <a:gd name="T86" fmla="*/ 401 w 2434"/>
                <a:gd name="T87" fmla="*/ 1616 h 2910"/>
                <a:gd name="T88" fmla="*/ 236 w 2434"/>
                <a:gd name="T89" fmla="*/ 1484 h 2910"/>
                <a:gd name="T90" fmla="*/ 38 w 2434"/>
                <a:gd name="T91" fmla="*/ 1155 h 2910"/>
                <a:gd name="T92" fmla="*/ 33 w 2434"/>
                <a:gd name="T93" fmla="*/ 1029 h 2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34" h="2910">
                  <a:moveTo>
                    <a:pt x="2222" y="1016"/>
                  </a:moveTo>
                  <a:lnTo>
                    <a:pt x="2222" y="1016"/>
                  </a:lnTo>
                  <a:cubicBezTo>
                    <a:pt x="2189" y="1016"/>
                    <a:pt x="2169" y="1010"/>
                    <a:pt x="2136" y="990"/>
                  </a:cubicBezTo>
                  <a:cubicBezTo>
                    <a:pt x="2136" y="1010"/>
                    <a:pt x="2149" y="1016"/>
                    <a:pt x="2149" y="1029"/>
                  </a:cubicBezTo>
                  <a:cubicBezTo>
                    <a:pt x="2149" y="1056"/>
                    <a:pt x="2149" y="1075"/>
                    <a:pt x="2149" y="1102"/>
                  </a:cubicBezTo>
                  <a:cubicBezTo>
                    <a:pt x="2149" y="1161"/>
                    <a:pt x="2195" y="1187"/>
                    <a:pt x="2195" y="1247"/>
                  </a:cubicBezTo>
                  <a:cubicBezTo>
                    <a:pt x="2202" y="1247"/>
                    <a:pt x="2209" y="1247"/>
                    <a:pt x="2222" y="1247"/>
                  </a:cubicBezTo>
                  <a:cubicBezTo>
                    <a:pt x="2275" y="1247"/>
                    <a:pt x="2301" y="1187"/>
                    <a:pt x="2301" y="1135"/>
                  </a:cubicBezTo>
                  <a:cubicBezTo>
                    <a:pt x="2301" y="1082"/>
                    <a:pt x="2275" y="1029"/>
                    <a:pt x="2222" y="1016"/>
                  </a:cubicBezTo>
                  <a:close/>
                  <a:moveTo>
                    <a:pt x="58" y="884"/>
                  </a:moveTo>
                  <a:lnTo>
                    <a:pt x="58" y="884"/>
                  </a:lnTo>
                  <a:cubicBezTo>
                    <a:pt x="71" y="897"/>
                    <a:pt x="91" y="904"/>
                    <a:pt x="118" y="917"/>
                  </a:cubicBezTo>
                  <a:lnTo>
                    <a:pt x="118" y="917"/>
                  </a:lnTo>
                  <a:cubicBezTo>
                    <a:pt x="144" y="977"/>
                    <a:pt x="164" y="1003"/>
                    <a:pt x="203" y="1049"/>
                  </a:cubicBezTo>
                  <a:cubicBezTo>
                    <a:pt x="236" y="1082"/>
                    <a:pt x="256" y="1109"/>
                    <a:pt x="302" y="1109"/>
                  </a:cubicBezTo>
                  <a:cubicBezTo>
                    <a:pt x="322" y="1109"/>
                    <a:pt x="342" y="1109"/>
                    <a:pt x="368" y="1109"/>
                  </a:cubicBezTo>
                  <a:cubicBezTo>
                    <a:pt x="388" y="1109"/>
                    <a:pt x="401" y="1102"/>
                    <a:pt x="428" y="1102"/>
                  </a:cubicBezTo>
                  <a:cubicBezTo>
                    <a:pt x="467" y="1102"/>
                    <a:pt x="487" y="1135"/>
                    <a:pt x="533" y="1148"/>
                  </a:cubicBezTo>
                  <a:cubicBezTo>
                    <a:pt x="592" y="1174"/>
                    <a:pt x="626" y="1194"/>
                    <a:pt x="685" y="1221"/>
                  </a:cubicBezTo>
                  <a:cubicBezTo>
                    <a:pt x="685" y="1221"/>
                    <a:pt x="691" y="1214"/>
                    <a:pt x="691" y="1207"/>
                  </a:cubicBezTo>
                  <a:cubicBezTo>
                    <a:pt x="691" y="1194"/>
                    <a:pt x="685" y="1187"/>
                    <a:pt x="685" y="1174"/>
                  </a:cubicBezTo>
                  <a:cubicBezTo>
                    <a:pt x="685" y="1135"/>
                    <a:pt x="685" y="1102"/>
                    <a:pt x="711" y="1069"/>
                  </a:cubicBezTo>
                  <a:cubicBezTo>
                    <a:pt x="731" y="1049"/>
                    <a:pt x="758" y="1049"/>
                    <a:pt x="790" y="1042"/>
                  </a:cubicBezTo>
                  <a:cubicBezTo>
                    <a:pt x="856" y="1016"/>
                    <a:pt x="903" y="1010"/>
                    <a:pt x="975" y="983"/>
                  </a:cubicBezTo>
                  <a:cubicBezTo>
                    <a:pt x="1008" y="970"/>
                    <a:pt x="1034" y="963"/>
                    <a:pt x="1067" y="937"/>
                  </a:cubicBezTo>
                  <a:cubicBezTo>
                    <a:pt x="1087" y="930"/>
                    <a:pt x="1101" y="930"/>
                    <a:pt x="1114" y="911"/>
                  </a:cubicBezTo>
                  <a:cubicBezTo>
                    <a:pt x="1133" y="878"/>
                    <a:pt x="1127" y="851"/>
                    <a:pt x="1140" y="812"/>
                  </a:cubicBezTo>
                  <a:cubicBezTo>
                    <a:pt x="1160" y="779"/>
                    <a:pt x="1180" y="759"/>
                    <a:pt x="1206" y="726"/>
                  </a:cubicBezTo>
                  <a:cubicBezTo>
                    <a:pt x="1239" y="673"/>
                    <a:pt x="1226" y="627"/>
                    <a:pt x="1239" y="568"/>
                  </a:cubicBezTo>
                  <a:cubicBezTo>
                    <a:pt x="1239" y="548"/>
                    <a:pt x="1252" y="541"/>
                    <a:pt x="1265" y="521"/>
                  </a:cubicBezTo>
                  <a:cubicBezTo>
                    <a:pt x="1292" y="462"/>
                    <a:pt x="1305" y="423"/>
                    <a:pt x="1345" y="370"/>
                  </a:cubicBezTo>
                  <a:cubicBezTo>
                    <a:pt x="1397" y="304"/>
                    <a:pt x="1437" y="284"/>
                    <a:pt x="1490" y="218"/>
                  </a:cubicBezTo>
                  <a:cubicBezTo>
                    <a:pt x="1536" y="152"/>
                    <a:pt x="1562" y="99"/>
                    <a:pt x="1602" y="27"/>
                  </a:cubicBezTo>
                  <a:lnTo>
                    <a:pt x="1602" y="27"/>
                  </a:lnTo>
                  <a:cubicBezTo>
                    <a:pt x="1635" y="27"/>
                    <a:pt x="1655" y="0"/>
                    <a:pt x="1688" y="0"/>
                  </a:cubicBezTo>
                  <a:cubicBezTo>
                    <a:pt x="1714" y="0"/>
                    <a:pt x="1720" y="27"/>
                    <a:pt x="1734" y="46"/>
                  </a:cubicBezTo>
                  <a:cubicBezTo>
                    <a:pt x="1767" y="93"/>
                    <a:pt x="1793" y="119"/>
                    <a:pt x="1806" y="178"/>
                  </a:cubicBezTo>
                  <a:cubicBezTo>
                    <a:pt x="1813" y="198"/>
                    <a:pt x="1806" y="218"/>
                    <a:pt x="1819" y="238"/>
                  </a:cubicBezTo>
                  <a:cubicBezTo>
                    <a:pt x="1826" y="251"/>
                    <a:pt x="1846" y="244"/>
                    <a:pt x="1859" y="251"/>
                  </a:cubicBezTo>
                  <a:cubicBezTo>
                    <a:pt x="1892" y="277"/>
                    <a:pt x="1899" y="317"/>
                    <a:pt x="1899" y="357"/>
                  </a:cubicBezTo>
                  <a:cubicBezTo>
                    <a:pt x="1899" y="389"/>
                    <a:pt x="1885" y="409"/>
                    <a:pt x="1885" y="449"/>
                  </a:cubicBezTo>
                  <a:cubicBezTo>
                    <a:pt x="1885" y="521"/>
                    <a:pt x="1899" y="561"/>
                    <a:pt x="1925" y="634"/>
                  </a:cubicBezTo>
                  <a:cubicBezTo>
                    <a:pt x="1945" y="686"/>
                    <a:pt x="1951" y="719"/>
                    <a:pt x="1964" y="772"/>
                  </a:cubicBezTo>
                  <a:cubicBezTo>
                    <a:pt x="2004" y="864"/>
                    <a:pt x="2031" y="924"/>
                    <a:pt x="2031" y="1023"/>
                  </a:cubicBezTo>
                  <a:cubicBezTo>
                    <a:pt x="2031" y="1049"/>
                    <a:pt x="2011" y="1062"/>
                    <a:pt x="1998" y="1082"/>
                  </a:cubicBezTo>
                  <a:cubicBezTo>
                    <a:pt x="2031" y="1102"/>
                    <a:pt x="2044" y="1122"/>
                    <a:pt x="2070" y="1148"/>
                  </a:cubicBezTo>
                  <a:cubicBezTo>
                    <a:pt x="2090" y="1168"/>
                    <a:pt x="2110" y="1174"/>
                    <a:pt x="2116" y="1201"/>
                  </a:cubicBezTo>
                  <a:cubicBezTo>
                    <a:pt x="2123" y="1227"/>
                    <a:pt x="2116" y="1247"/>
                    <a:pt x="2136" y="1273"/>
                  </a:cubicBezTo>
                  <a:cubicBezTo>
                    <a:pt x="2162" y="1300"/>
                    <a:pt x="2195" y="1293"/>
                    <a:pt x="2235" y="1300"/>
                  </a:cubicBezTo>
                  <a:cubicBezTo>
                    <a:pt x="2288" y="1313"/>
                    <a:pt x="2334" y="1293"/>
                    <a:pt x="2380" y="1326"/>
                  </a:cubicBezTo>
                  <a:cubicBezTo>
                    <a:pt x="2406" y="1346"/>
                    <a:pt x="2406" y="1366"/>
                    <a:pt x="2413" y="1392"/>
                  </a:cubicBezTo>
                  <a:cubicBezTo>
                    <a:pt x="2420" y="1418"/>
                    <a:pt x="2433" y="1432"/>
                    <a:pt x="2433" y="1452"/>
                  </a:cubicBezTo>
                  <a:cubicBezTo>
                    <a:pt x="2433" y="1511"/>
                    <a:pt x="2360" y="1531"/>
                    <a:pt x="2301" y="1531"/>
                  </a:cubicBezTo>
                  <a:cubicBezTo>
                    <a:pt x="2301" y="1537"/>
                    <a:pt x="2301" y="1537"/>
                    <a:pt x="2301" y="1544"/>
                  </a:cubicBezTo>
                  <a:cubicBezTo>
                    <a:pt x="2301" y="1603"/>
                    <a:pt x="2420" y="1577"/>
                    <a:pt x="2420" y="1636"/>
                  </a:cubicBezTo>
                  <a:cubicBezTo>
                    <a:pt x="2420" y="1663"/>
                    <a:pt x="2406" y="1682"/>
                    <a:pt x="2380" y="1702"/>
                  </a:cubicBezTo>
                  <a:cubicBezTo>
                    <a:pt x="2281" y="1742"/>
                    <a:pt x="2281" y="1834"/>
                    <a:pt x="2189" y="1887"/>
                  </a:cubicBezTo>
                  <a:cubicBezTo>
                    <a:pt x="2096" y="1939"/>
                    <a:pt x="2057" y="1992"/>
                    <a:pt x="1964" y="2052"/>
                  </a:cubicBezTo>
                  <a:cubicBezTo>
                    <a:pt x="1925" y="2071"/>
                    <a:pt x="1892" y="2071"/>
                    <a:pt x="1852" y="2104"/>
                  </a:cubicBezTo>
                  <a:cubicBezTo>
                    <a:pt x="1767" y="2164"/>
                    <a:pt x="1740" y="2230"/>
                    <a:pt x="1707" y="2329"/>
                  </a:cubicBezTo>
                  <a:cubicBezTo>
                    <a:pt x="1688" y="2381"/>
                    <a:pt x="1674" y="2414"/>
                    <a:pt x="1655" y="2467"/>
                  </a:cubicBezTo>
                  <a:lnTo>
                    <a:pt x="1655" y="2467"/>
                  </a:lnTo>
                  <a:cubicBezTo>
                    <a:pt x="1720" y="2467"/>
                    <a:pt x="1720" y="2467"/>
                    <a:pt x="1720" y="2467"/>
                  </a:cubicBezTo>
                  <a:lnTo>
                    <a:pt x="1720" y="2467"/>
                  </a:lnTo>
                  <a:cubicBezTo>
                    <a:pt x="1720" y="2474"/>
                    <a:pt x="1720" y="2480"/>
                    <a:pt x="1720" y="2494"/>
                  </a:cubicBezTo>
                  <a:cubicBezTo>
                    <a:pt x="1720" y="2540"/>
                    <a:pt x="1688" y="2560"/>
                    <a:pt x="1688" y="2599"/>
                  </a:cubicBezTo>
                  <a:cubicBezTo>
                    <a:pt x="1688" y="2632"/>
                    <a:pt x="1688" y="2645"/>
                    <a:pt x="1688" y="2672"/>
                  </a:cubicBezTo>
                  <a:cubicBezTo>
                    <a:pt x="1688" y="2705"/>
                    <a:pt x="1674" y="2718"/>
                    <a:pt x="1648" y="2738"/>
                  </a:cubicBezTo>
                  <a:cubicBezTo>
                    <a:pt x="1615" y="2777"/>
                    <a:pt x="1615" y="2777"/>
                    <a:pt x="1615" y="2777"/>
                  </a:cubicBezTo>
                  <a:cubicBezTo>
                    <a:pt x="1595" y="2817"/>
                    <a:pt x="1569" y="2830"/>
                    <a:pt x="1536" y="2856"/>
                  </a:cubicBezTo>
                  <a:cubicBezTo>
                    <a:pt x="1503" y="2883"/>
                    <a:pt x="1483" y="2909"/>
                    <a:pt x="1437" y="2909"/>
                  </a:cubicBezTo>
                  <a:cubicBezTo>
                    <a:pt x="1424" y="2909"/>
                    <a:pt x="1417" y="2903"/>
                    <a:pt x="1404" y="2896"/>
                  </a:cubicBezTo>
                  <a:lnTo>
                    <a:pt x="1404" y="2896"/>
                  </a:lnTo>
                  <a:cubicBezTo>
                    <a:pt x="1424" y="2856"/>
                    <a:pt x="1410" y="2830"/>
                    <a:pt x="1444" y="2797"/>
                  </a:cubicBezTo>
                  <a:cubicBezTo>
                    <a:pt x="1410" y="2784"/>
                    <a:pt x="1391" y="2777"/>
                    <a:pt x="1358" y="2757"/>
                  </a:cubicBezTo>
                  <a:cubicBezTo>
                    <a:pt x="1305" y="2731"/>
                    <a:pt x="1265" y="2711"/>
                    <a:pt x="1246" y="2652"/>
                  </a:cubicBezTo>
                  <a:cubicBezTo>
                    <a:pt x="1239" y="2606"/>
                    <a:pt x="1246" y="2553"/>
                    <a:pt x="1199" y="2546"/>
                  </a:cubicBezTo>
                  <a:cubicBezTo>
                    <a:pt x="1147" y="2533"/>
                    <a:pt x="1081" y="2546"/>
                    <a:pt x="1081" y="2494"/>
                  </a:cubicBezTo>
                  <a:cubicBezTo>
                    <a:pt x="1081" y="2461"/>
                    <a:pt x="1081" y="2441"/>
                    <a:pt x="1081" y="2408"/>
                  </a:cubicBezTo>
                  <a:cubicBezTo>
                    <a:pt x="1081" y="2362"/>
                    <a:pt x="1034" y="2349"/>
                    <a:pt x="1002" y="2329"/>
                  </a:cubicBezTo>
                  <a:cubicBezTo>
                    <a:pt x="969" y="2302"/>
                    <a:pt x="955" y="2282"/>
                    <a:pt x="922" y="2256"/>
                  </a:cubicBezTo>
                  <a:cubicBezTo>
                    <a:pt x="856" y="2197"/>
                    <a:pt x="850" y="2137"/>
                    <a:pt x="810" y="2058"/>
                  </a:cubicBezTo>
                  <a:cubicBezTo>
                    <a:pt x="790" y="2012"/>
                    <a:pt x="758" y="1986"/>
                    <a:pt x="751" y="1933"/>
                  </a:cubicBezTo>
                  <a:cubicBezTo>
                    <a:pt x="744" y="1900"/>
                    <a:pt x="744" y="1874"/>
                    <a:pt x="718" y="1847"/>
                  </a:cubicBezTo>
                  <a:cubicBezTo>
                    <a:pt x="665" y="1788"/>
                    <a:pt x="612" y="1781"/>
                    <a:pt x="546" y="1735"/>
                  </a:cubicBezTo>
                  <a:cubicBezTo>
                    <a:pt x="513" y="1722"/>
                    <a:pt x="494" y="1709"/>
                    <a:pt x="480" y="1676"/>
                  </a:cubicBezTo>
                  <a:cubicBezTo>
                    <a:pt x="467" y="1656"/>
                    <a:pt x="474" y="1629"/>
                    <a:pt x="454" y="1623"/>
                  </a:cubicBezTo>
                  <a:cubicBezTo>
                    <a:pt x="434" y="1610"/>
                    <a:pt x="421" y="1623"/>
                    <a:pt x="401" y="1616"/>
                  </a:cubicBezTo>
                  <a:cubicBezTo>
                    <a:pt x="355" y="1610"/>
                    <a:pt x="342" y="1583"/>
                    <a:pt x="302" y="1564"/>
                  </a:cubicBezTo>
                  <a:cubicBezTo>
                    <a:pt x="263" y="1544"/>
                    <a:pt x="243" y="1524"/>
                    <a:pt x="236" y="1484"/>
                  </a:cubicBezTo>
                  <a:cubicBezTo>
                    <a:pt x="223" y="1399"/>
                    <a:pt x="223" y="1333"/>
                    <a:pt x="170" y="1267"/>
                  </a:cubicBezTo>
                  <a:cubicBezTo>
                    <a:pt x="124" y="1214"/>
                    <a:pt x="91" y="1194"/>
                    <a:pt x="38" y="1155"/>
                  </a:cubicBezTo>
                  <a:cubicBezTo>
                    <a:pt x="20" y="1148"/>
                    <a:pt x="0" y="1141"/>
                    <a:pt x="0" y="1122"/>
                  </a:cubicBezTo>
                  <a:cubicBezTo>
                    <a:pt x="0" y="1089"/>
                    <a:pt x="20" y="1069"/>
                    <a:pt x="33" y="1029"/>
                  </a:cubicBezTo>
                  <a:cubicBezTo>
                    <a:pt x="52" y="977"/>
                    <a:pt x="52" y="943"/>
                    <a:pt x="58" y="884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" name="Freeform 33"/>
            <p:cNvSpPr>
              <a:spLocks noChangeArrowheads="1"/>
            </p:cNvSpPr>
            <p:nvPr/>
          </p:nvSpPr>
          <p:spPr bwMode="auto">
            <a:xfrm>
              <a:off x="3342265" y="5618158"/>
              <a:ext cx="1331825" cy="738187"/>
            </a:xfrm>
            <a:custGeom>
              <a:avLst/>
              <a:gdLst>
                <a:gd name="T0" fmla="*/ 3548 w 3701"/>
                <a:gd name="T1" fmla="*/ 1273 h 2052"/>
                <a:gd name="T2" fmla="*/ 3548 w 3701"/>
                <a:gd name="T3" fmla="*/ 1273 h 2052"/>
                <a:gd name="T4" fmla="*/ 3700 w 3701"/>
                <a:gd name="T5" fmla="*/ 1365 h 2052"/>
                <a:gd name="T6" fmla="*/ 3700 w 3701"/>
                <a:gd name="T7" fmla="*/ 1365 h 2052"/>
                <a:gd name="T8" fmla="*/ 3674 w 3701"/>
                <a:gd name="T9" fmla="*/ 1378 h 2052"/>
                <a:gd name="T10" fmla="*/ 3608 w 3701"/>
                <a:gd name="T11" fmla="*/ 1431 h 2052"/>
                <a:gd name="T12" fmla="*/ 3529 w 3701"/>
                <a:gd name="T13" fmla="*/ 1530 h 2052"/>
                <a:gd name="T14" fmla="*/ 3397 w 3701"/>
                <a:gd name="T15" fmla="*/ 1569 h 2052"/>
                <a:gd name="T16" fmla="*/ 3258 w 3701"/>
                <a:gd name="T17" fmla="*/ 1728 h 2052"/>
                <a:gd name="T18" fmla="*/ 3205 w 3701"/>
                <a:gd name="T19" fmla="*/ 1780 h 2052"/>
                <a:gd name="T20" fmla="*/ 3087 w 3701"/>
                <a:gd name="T21" fmla="*/ 1754 h 2052"/>
                <a:gd name="T22" fmla="*/ 3014 w 3701"/>
                <a:gd name="T23" fmla="*/ 1820 h 2052"/>
                <a:gd name="T24" fmla="*/ 2902 w 3701"/>
                <a:gd name="T25" fmla="*/ 1932 h 2052"/>
                <a:gd name="T26" fmla="*/ 2777 w 3701"/>
                <a:gd name="T27" fmla="*/ 2018 h 2052"/>
                <a:gd name="T28" fmla="*/ 2678 w 3701"/>
                <a:gd name="T29" fmla="*/ 1972 h 2052"/>
                <a:gd name="T30" fmla="*/ 2625 w 3701"/>
                <a:gd name="T31" fmla="*/ 1972 h 2052"/>
                <a:gd name="T32" fmla="*/ 2539 w 3701"/>
                <a:gd name="T33" fmla="*/ 1958 h 2052"/>
                <a:gd name="T34" fmla="*/ 2328 w 3701"/>
                <a:gd name="T35" fmla="*/ 2011 h 2052"/>
                <a:gd name="T36" fmla="*/ 2328 w 3701"/>
                <a:gd name="T37" fmla="*/ 2011 h 2052"/>
                <a:gd name="T38" fmla="*/ 2236 w 3701"/>
                <a:gd name="T39" fmla="*/ 1978 h 2052"/>
                <a:gd name="T40" fmla="*/ 2170 w 3701"/>
                <a:gd name="T41" fmla="*/ 1958 h 2052"/>
                <a:gd name="T42" fmla="*/ 2104 w 3701"/>
                <a:gd name="T43" fmla="*/ 1972 h 2052"/>
                <a:gd name="T44" fmla="*/ 1932 w 3701"/>
                <a:gd name="T45" fmla="*/ 2018 h 2052"/>
                <a:gd name="T46" fmla="*/ 1847 w 3701"/>
                <a:gd name="T47" fmla="*/ 2051 h 2052"/>
                <a:gd name="T48" fmla="*/ 1741 w 3701"/>
                <a:gd name="T49" fmla="*/ 1932 h 2052"/>
                <a:gd name="T50" fmla="*/ 1688 w 3701"/>
                <a:gd name="T51" fmla="*/ 1747 h 2052"/>
                <a:gd name="T52" fmla="*/ 1688 w 3701"/>
                <a:gd name="T53" fmla="*/ 1682 h 2052"/>
                <a:gd name="T54" fmla="*/ 1695 w 3701"/>
                <a:gd name="T55" fmla="*/ 1549 h 2052"/>
                <a:gd name="T56" fmla="*/ 1688 w 3701"/>
                <a:gd name="T57" fmla="*/ 1444 h 2052"/>
                <a:gd name="T58" fmla="*/ 1715 w 3701"/>
                <a:gd name="T59" fmla="*/ 1352 h 2052"/>
                <a:gd name="T60" fmla="*/ 1748 w 3701"/>
                <a:gd name="T61" fmla="*/ 1147 h 2052"/>
                <a:gd name="T62" fmla="*/ 1748 w 3701"/>
                <a:gd name="T63" fmla="*/ 1128 h 2052"/>
                <a:gd name="T64" fmla="*/ 1523 w 3701"/>
                <a:gd name="T65" fmla="*/ 1286 h 2052"/>
                <a:gd name="T66" fmla="*/ 1391 w 3701"/>
                <a:gd name="T67" fmla="*/ 1418 h 2052"/>
                <a:gd name="T68" fmla="*/ 1326 w 3701"/>
                <a:gd name="T69" fmla="*/ 1451 h 2052"/>
                <a:gd name="T70" fmla="*/ 1200 w 3701"/>
                <a:gd name="T71" fmla="*/ 1451 h 2052"/>
                <a:gd name="T72" fmla="*/ 956 w 3701"/>
                <a:gd name="T73" fmla="*/ 1464 h 2052"/>
                <a:gd name="T74" fmla="*/ 864 w 3701"/>
                <a:gd name="T75" fmla="*/ 1358 h 2052"/>
                <a:gd name="T76" fmla="*/ 811 w 3701"/>
                <a:gd name="T77" fmla="*/ 1246 h 2052"/>
                <a:gd name="T78" fmla="*/ 732 w 3701"/>
                <a:gd name="T79" fmla="*/ 1200 h 2052"/>
                <a:gd name="T80" fmla="*/ 521 w 3701"/>
                <a:gd name="T81" fmla="*/ 1141 h 2052"/>
                <a:gd name="T82" fmla="*/ 422 w 3701"/>
                <a:gd name="T83" fmla="*/ 1141 h 2052"/>
                <a:gd name="T84" fmla="*/ 455 w 3701"/>
                <a:gd name="T85" fmla="*/ 989 h 2052"/>
                <a:gd name="T86" fmla="*/ 369 w 3701"/>
                <a:gd name="T87" fmla="*/ 804 h 2052"/>
                <a:gd name="T88" fmla="*/ 283 w 3701"/>
                <a:gd name="T89" fmla="*/ 732 h 2052"/>
                <a:gd name="T90" fmla="*/ 257 w 3701"/>
                <a:gd name="T91" fmla="*/ 633 h 2052"/>
                <a:gd name="T92" fmla="*/ 171 w 3701"/>
                <a:gd name="T93" fmla="*/ 475 h 2052"/>
                <a:gd name="T94" fmla="*/ 151 w 3701"/>
                <a:gd name="T95" fmla="*/ 408 h 2052"/>
                <a:gd name="T96" fmla="*/ 151 w 3701"/>
                <a:gd name="T97" fmla="*/ 343 h 2052"/>
                <a:gd name="T98" fmla="*/ 138 w 3701"/>
                <a:gd name="T99" fmla="*/ 290 h 2052"/>
                <a:gd name="T100" fmla="*/ 66 w 3701"/>
                <a:gd name="T101" fmla="*/ 263 h 2052"/>
                <a:gd name="T102" fmla="*/ 52 w 3701"/>
                <a:gd name="T103" fmla="*/ 211 h 2052"/>
                <a:gd name="T104" fmla="*/ 20 w 3701"/>
                <a:gd name="T105" fmla="*/ 138 h 2052"/>
                <a:gd name="T106" fmla="*/ 132 w 3701"/>
                <a:gd name="T107" fmla="*/ 99 h 2052"/>
                <a:gd name="T108" fmla="*/ 132 w 3701"/>
                <a:gd name="T109" fmla="*/ 19 h 2052"/>
                <a:gd name="T110" fmla="*/ 132 w 3701"/>
                <a:gd name="T111" fmla="*/ 0 h 2052"/>
                <a:gd name="T112" fmla="*/ 132 w 3701"/>
                <a:gd name="T113" fmla="*/ 0 h 2052"/>
                <a:gd name="T114" fmla="*/ 2955 w 3701"/>
                <a:gd name="T115" fmla="*/ 1015 h 2052"/>
                <a:gd name="T116" fmla="*/ 3548 w 3701"/>
                <a:gd name="T117" fmla="*/ 1273 h 2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701" h="2052">
                  <a:moveTo>
                    <a:pt x="3548" y="1273"/>
                  </a:moveTo>
                  <a:lnTo>
                    <a:pt x="3548" y="1273"/>
                  </a:lnTo>
                  <a:cubicBezTo>
                    <a:pt x="3601" y="1319"/>
                    <a:pt x="3647" y="1325"/>
                    <a:pt x="3700" y="1365"/>
                  </a:cubicBezTo>
                  <a:lnTo>
                    <a:pt x="3700" y="1365"/>
                  </a:lnTo>
                  <a:cubicBezTo>
                    <a:pt x="3693" y="1365"/>
                    <a:pt x="3680" y="1372"/>
                    <a:pt x="3674" y="1378"/>
                  </a:cubicBezTo>
                  <a:cubicBezTo>
                    <a:pt x="3641" y="1398"/>
                    <a:pt x="3634" y="1411"/>
                    <a:pt x="3608" y="1431"/>
                  </a:cubicBezTo>
                  <a:cubicBezTo>
                    <a:pt x="3568" y="1464"/>
                    <a:pt x="3568" y="1503"/>
                    <a:pt x="3529" y="1530"/>
                  </a:cubicBezTo>
                  <a:cubicBezTo>
                    <a:pt x="3482" y="1556"/>
                    <a:pt x="3436" y="1536"/>
                    <a:pt x="3397" y="1569"/>
                  </a:cubicBezTo>
                  <a:cubicBezTo>
                    <a:pt x="3337" y="1629"/>
                    <a:pt x="3318" y="1675"/>
                    <a:pt x="3258" y="1728"/>
                  </a:cubicBezTo>
                  <a:cubicBezTo>
                    <a:pt x="3232" y="1741"/>
                    <a:pt x="3238" y="1780"/>
                    <a:pt x="3205" y="1780"/>
                  </a:cubicBezTo>
                  <a:cubicBezTo>
                    <a:pt x="3159" y="1780"/>
                    <a:pt x="3133" y="1754"/>
                    <a:pt x="3087" y="1754"/>
                  </a:cubicBezTo>
                  <a:cubicBezTo>
                    <a:pt x="3047" y="1754"/>
                    <a:pt x="3041" y="1794"/>
                    <a:pt x="3014" y="1820"/>
                  </a:cubicBezTo>
                  <a:cubicBezTo>
                    <a:pt x="2968" y="1859"/>
                    <a:pt x="2942" y="1886"/>
                    <a:pt x="2902" y="1932"/>
                  </a:cubicBezTo>
                  <a:cubicBezTo>
                    <a:pt x="2856" y="1972"/>
                    <a:pt x="2836" y="2018"/>
                    <a:pt x="2777" y="2018"/>
                  </a:cubicBezTo>
                  <a:cubicBezTo>
                    <a:pt x="2731" y="2018"/>
                    <a:pt x="2717" y="1991"/>
                    <a:pt x="2678" y="1972"/>
                  </a:cubicBezTo>
                  <a:cubicBezTo>
                    <a:pt x="2658" y="1965"/>
                    <a:pt x="2645" y="1978"/>
                    <a:pt x="2625" y="1972"/>
                  </a:cubicBezTo>
                  <a:cubicBezTo>
                    <a:pt x="2592" y="1972"/>
                    <a:pt x="2572" y="1958"/>
                    <a:pt x="2539" y="1958"/>
                  </a:cubicBezTo>
                  <a:cubicBezTo>
                    <a:pt x="2453" y="1958"/>
                    <a:pt x="2407" y="1978"/>
                    <a:pt x="2328" y="2011"/>
                  </a:cubicBezTo>
                  <a:lnTo>
                    <a:pt x="2328" y="2011"/>
                  </a:lnTo>
                  <a:cubicBezTo>
                    <a:pt x="2289" y="1998"/>
                    <a:pt x="2269" y="1991"/>
                    <a:pt x="2236" y="1978"/>
                  </a:cubicBezTo>
                  <a:cubicBezTo>
                    <a:pt x="2209" y="1972"/>
                    <a:pt x="2196" y="1958"/>
                    <a:pt x="2170" y="1958"/>
                  </a:cubicBezTo>
                  <a:cubicBezTo>
                    <a:pt x="2144" y="1958"/>
                    <a:pt x="2130" y="1965"/>
                    <a:pt x="2104" y="1972"/>
                  </a:cubicBezTo>
                  <a:cubicBezTo>
                    <a:pt x="2038" y="1991"/>
                    <a:pt x="1992" y="1985"/>
                    <a:pt x="1932" y="2018"/>
                  </a:cubicBezTo>
                  <a:cubicBezTo>
                    <a:pt x="1899" y="2031"/>
                    <a:pt x="1880" y="2051"/>
                    <a:pt x="1847" y="2051"/>
                  </a:cubicBezTo>
                  <a:cubicBezTo>
                    <a:pt x="1781" y="2051"/>
                    <a:pt x="1754" y="1991"/>
                    <a:pt x="1741" y="1932"/>
                  </a:cubicBezTo>
                  <a:cubicBezTo>
                    <a:pt x="1715" y="1859"/>
                    <a:pt x="1688" y="1827"/>
                    <a:pt x="1688" y="1747"/>
                  </a:cubicBezTo>
                  <a:cubicBezTo>
                    <a:pt x="1688" y="1721"/>
                    <a:pt x="1688" y="1708"/>
                    <a:pt x="1688" y="1682"/>
                  </a:cubicBezTo>
                  <a:cubicBezTo>
                    <a:pt x="1688" y="1629"/>
                    <a:pt x="1695" y="1602"/>
                    <a:pt x="1695" y="1549"/>
                  </a:cubicBezTo>
                  <a:cubicBezTo>
                    <a:pt x="1695" y="1510"/>
                    <a:pt x="1688" y="1490"/>
                    <a:pt x="1688" y="1444"/>
                  </a:cubicBezTo>
                  <a:cubicBezTo>
                    <a:pt x="1688" y="1411"/>
                    <a:pt x="1708" y="1391"/>
                    <a:pt x="1715" y="1352"/>
                  </a:cubicBezTo>
                  <a:cubicBezTo>
                    <a:pt x="1728" y="1273"/>
                    <a:pt x="1748" y="1226"/>
                    <a:pt x="1748" y="1147"/>
                  </a:cubicBezTo>
                  <a:cubicBezTo>
                    <a:pt x="1748" y="1141"/>
                    <a:pt x="1748" y="1134"/>
                    <a:pt x="1748" y="1128"/>
                  </a:cubicBezTo>
                  <a:cubicBezTo>
                    <a:pt x="1669" y="1200"/>
                    <a:pt x="1609" y="1220"/>
                    <a:pt x="1523" y="1286"/>
                  </a:cubicBezTo>
                  <a:cubicBezTo>
                    <a:pt x="1471" y="1325"/>
                    <a:pt x="1451" y="1372"/>
                    <a:pt x="1391" y="1418"/>
                  </a:cubicBezTo>
                  <a:cubicBezTo>
                    <a:pt x="1372" y="1431"/>
                    <a:pt x="1359" y="1451"/>
                    <a:pt x="1326" y="1451"/>
                  </a:cubicBezTo>
                  <a:cubicBezTo>
                    <a:pt x="1279" y="1451"/>
                    <a:pt x="1253" y="1451"/>
                    <a:pt x="1200" y="1451"/>
                  </a:cubicBezTo>
                  <a:cubicBezTo>
                    <a:pt x="1108" y="1457"/>
                    <a:pt x="1055" y="1464"/>
                    <a:pt x="956" y="1464"/>
                  </a:cubicBezTo>
                  <a:cubicBezTo>
                    <a:pt x="904" y="1464"/>
                    <a:pt x="884" y="1411"/>
                    <a:pt x="864" y="1358"/>
                  </a:cubicBezTo>
                  <a:cubicBezTo>
                    <a:pt x="851" y="1312"/>
                    <a:pt x="837" y="1286"/>
                    <a:pt x="811" y="1246"/>
                  </a:cubicBezTo>
                  <a:cubicBezTo>
                    <a:pt x="791" y="1220"/>
                    <a:pt x="765" y="1213"/>
                    <a:pt x="732" y="1200"/>
                  </a:cubicBezTo>
                  <a:cubicBezTo>
                    <a:pt x="666" y="1147"/>
                    <a:pt x="607" y="1141"/>
                    <a:pt x="521" y="1141"/>
                  </a:cubicBezTo>
                  <a:cubicBezTo>
                    <a:pt x="481" y="1141"/>
                    <a:pt x="462" y="1141"/>
                    <a:pt x="422" y="1141"/>
                  </a:cubicBezTo>
                  <a:cubicBezTo>
                    <a:pt x="455" y="989"/>
                    <a:pt x="455" y="989"/>
                    <a:pt x="455" y="989"/>
                  </a:cubicBezTo>
                  <a:cubicBezTo>
                    <a:pt x="448" y="910"/>
                    <a:pt x="415" y="870"/>
                    <a:pt x="369" y="804"/>
                  </a:cubicBezTo>
                  <a:cubicBezTo>
                    <a:pt x="343" y="771"/>
                    <a:pt x="303" y="771"/>
                    <a:pt x="283" y="732"/>
                  </a:cubicBezTo>
                  <a:cubicBezTo>
                    <a:pt x="270" y="699"/>
                    <a:pt x="283" y="666"/>
                    <a:pt x="257" y="633"/>
                  </a:cubicBezTo>
                  <a:cubicBezTo>
                    <a:pt x="211" y="580"/>
                    <a:pt x="171" y="540"/>
                    <a:pt x="171" y="475"/>
                  </a:cubicBezTo>
                  <a:cubicBezTo>
                    <a:pt x="151" y="408"/>
                    <a:pt x="151" y="408"/>
                    <a:pt x="151" y="408"/>
                  </a:cubicBezTo>
                  <a:cubicBezTo>
                    <a:pt x="151" y="382"/>
                    <a:pt x="151" y="369"/>
                    <a:pt x="151" y="343"/>
                  </a:cubicBezTo>
                  <a:cubicBezTo>
                    <a:pt x="151" y="323"/>
                    <a:pt x="151" y="303"/>
                    <a:pt x="138" y="290"/>
                  </a:cubicBezTo>
                  <a:cubicBezTo>
                    <a:pt x="112" y="277"/>
                    <a:pt x="92" y="283"/>
                    <a:pt x="66" y="263"/>
                  </a:cubicBezTo>
                  <a:cubicBezTo>
                    <a:pt x="52" y="250"/>
                    <a:pt x="59" y="231"/>
                    <a:pt x="52" y="211"/>
                  </a:cubicBezTo>
                  <a:cubicBezTo>
                    <a:pt x="46" y="178"/>
                    <a:pt x="0" y="158"/>
                    <a:pt x="20" y="138"/>
                  </a:cubicBezTo>
                  <a:cubicBezTo>
                    <a:pt x="52" y="105"/>
                    <a:pt x="132" y="145"/>
                    <a:pt x="132" y="99"/>
                  </a:cubicBezTo>
                  <a:cubicBezTo>
                    <a:pt x="132" y="65"/>
                    <a:pt x="132" y="46"/>
                    <a:pt x="132" y="19"/>
                  </a:cubicBezTo>
                  <a:cubicBezTo>
                    <a:pt x="132" y="13"/>
                    <a:pt x="132" y="6"/>
                    <a:pt x="132" y="0"/>
                  </a:cubicBezTo>
                  <a:lnTo>
                    <a:pt x="132" y="0"/>
                  </a:lnTo>
                  <a:cubicBezTo>
                    <a:pt x="2955" y="1015"/>
                    <a:pt x="2955" y="1015"/>
                    <a:pt x="2955" y="1015"/>
                  </a:cubicBezTo>
                  <a:cubicBezTo>
                    <a:pt x="3548" y="1273"/>
                    <a:pt x="3548" y="1273"/>
                    <a:pt x="3548" y="127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" name="Freeform 34"/>
            <p:cNvSpPr>
              <a:spLocks noChangeArrowheads="1"/>
            </p:cNvSpPr>
            <p:nvPr/>
          </p:nvSpPr>
          <p:spPr bwMode="auto">
            <a:xfrm>
              <a:off x="4620119" y="5762620"/>
              <a:ext cx="1268330" cy="1020763"/>
            </a:xfrm>
            <a:custGeom>
              <a:avLst/>
              <a:gdLst>
                <a:gd name="T0" fmla="*/ 0 w 3524"/>
                <a:gd name="T1" fmla="*/ 871 h 2837"/>
                <a:gd name="T2" fmla="*/ 152 w 3524"/>
                <a:gd name="T3" fmla="*/ 963 h 2837"/>
                <a:gd name="T4" fmla="*/ 436 w 3524"/>
                <a:gd name="T5" fmla="*/ 903 h 2837"/>
                <a:gd name="T6" fmla="*/ 561 w 3524"/>
                <a:gd name="T7" fmla="*/ 910 h 2837"/>
                <a:gd name="T8" fmla="*/ 772 w 3524"/>
                <a:gd name="T9" fmla="*/ 877 h 2837"/>
                <a:gd name="T10" fmla="*/ 798 w 3524"/>
                <a:gd name="T11" fmla="*/ 1022 h 2837"/>
                <a:gd name="T12" fmla="*/ 772 w 3524"/>
                <a:gd name="T13" fmla="*/ 1167 h 2837"/>
                <a:gd name="T14" fmla="*/ 851 w 3524"/>
                <a:gd name="T15" fmla="*/ 1471 h 2837"/>
                <a:gd name="T16" fmla="*/ 878 w 3524"/>
                <a:gd name="T17" fmla="*/ 1840 h 2837"/>
                <a:gd name="T18" fmla="*/ 911 w 3524"/>
                <a:gd name="T19" fmla="*/ 2005 h 2837"/>
                <a:gd name="T20" fmla="*/ 957 w 3524"/>
                <a:gd name="T21" fmla="*/ 2012 h 2837"/>
                <a:gd name="T22" fmla="*/ 1174 w 3524"/>
                <a:gd name="T23" fmla="*/ 2150 h 2837"/>
                <a:gd name="T24" fmla="*/ 1359 w 3524"/>
                <a:gd name="T25" fmla="*/ 2315 h 2837"/>
                <a:gd name="T26" fmla="*/ 1517 w 3524"/>
                <a:gd name="T27" fmla="*/ 2328 h 2837"/>
                <a:gd name="T28" fmla="*/ 1649 w 3524"/>
                <a:gd name="T29" fmla="*/ 2295 h 2837"/>
                <a:gd name="T30" fmla="*/ 1874 w 3524"/>
                <a:gd name="T31" fmla="*/ 2348 h 2837"/>
                <a:gd name="T32" fmla="*/ 2111 w 3524"/>
                <a:gd name="T33" fmla="*/ 2533 h 2837"/>
                <a:gd name="T34" fmla="*/ 2335 w 3524"/>
                <a:gd name="T35" fmla="*/ 2579 h 2837"/>
                <a:gd name="T36" fmla="*/ 2520 w 3524"/>
                <a:gd name="T37" fmla="*/ 2704 h 2837"/>
                <a:gd name="T38" fmla="*/ 2645 w 3524"/>
                <a:gd name="T39" fmla="*/ 2783 h 2837"/>
                <a:gd name="T40" fmla="*/ 2883 w 3524"/>
                <a:gd name="T41" fmla="*/ 2829 h 2837"/>
                <a:gd name="T42" fmla="*/ 3048 w 3524"/>
                <a:gd name="T43" fmla="*/ 2836 h 2837"/>
                <a:gd name="T44" fmla="*/ 3134 w 3524"/>
                <a:gd name="T45" fmla="*/ 2724 h 2837"/>
                <a:gd name="T46" fmla="*/ 3430 w 3524"/>
                <a:gd name="T47" fmla="*/ 2289 h 2837"/>
                <a:gd name="T48" fmla="*/ 3523 w 3524"/>
                <a:gd name="T49" fmla="*/ 2084 h 2837"/>
                <a:gd name="T50" fmla="*/ 3450 w 3524"/>
                <a:gd name="T51" fmla="*/ 1893 h 2837"/>
                <a:gd name="T52" fmla="*/ 3371 w 3524"/>
                <a:gd name="T53" fmla="*/ 1589 h 2837"/>
                <a:gd name="T54" fmla="*/ 3153 w 3524"/>
                <a:gd name="T55" fmla="*/ 1537 h 2837"/>
                <a:gd name="T56" fmla="*/ 2870 w 3524"/>
                <a:gd name="T57" fmla="*/ 1280 h 2837"/>
                <a:gd name="T58" fmla="*/ 2764 w 3524"/>
                <a:gd name="T59" fmla="*/ 600 h 2837"/>
                <a:gd name="T60" fmla="*/ 2593 w 3524"/>
                <a:gd name="T61" fmla="*/ 396 h 2837"/>
                <a:gd name="T62" fmla="*/ 2381 w 3524"/>
                <a:gd name="T63" fmla="*/ 396 h 2837"/>
                <a:gd name="T64" fmla="*/ 1669 w 3524"/>
                <a:gd name="T65" fmla="*/ 0 h 2837"/>
                <a:gd name="T66" fmla="*/ 1531 w 3524"/>
                <a:gd name="T67" fmla="*/ 138 h 2837"/>
                <a:gd name="T68" fmla="*/ 1379 w 3524"/>
                <a:gd name="T69" fmla="*/ 323 h 2837"/>
                <a:gd name="T70" fmla="*/ 1102 w 3524"/>
                <a:gd name="T71" fmla="*/ 534 h 2837"/>
                <a:gd name="T72" fmla="*/ 944 w 3524"/>
                <a:gd name="T73" fmla="*/ 627 h 2837"/>
                <a:gd name="T74" fmla="*/ 792 w 3524"/>
                <a:gd name="T75" fmla="*/ 692 h 2837"/>
                <a:gd name="T76" fmla="*/ 667 w 3524"/>
                <a:gd name="T77" fmla="*/ 673 h 2837"/>
                <a:gd name="T78" fmla="*/ 423 w 3524"/>
                <a:gd name="T79" fmla="*/ 699 h 2837"/>
                <a:gd name="T80" fmla="*/ 126 w 3524"/>
                <a:gd name="T81" fmla="*/ 844 h 28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24" h="2837">
                  <a:moveTo>
                    <a:pt x="0" y="871"/>
                  </a:moveTo>
                  <a:lnTo>
                    <a:pt x="0" y="871"/>
                  </a:lnTo>
                  <a:cubicBezTo>
                    <a:pt x="53" y="917"/>
                    <a:pt x="99" y="923"/>
                    <a:pt x="152" y="963"/>
                  </a:cubicBezTo>
                  <a:lnTo>
                    <a:pt x="152" y="963"/>
                  </a:lnTo>
                  <a:cubicBezTo>
                    <a:pt x="198" y="950"/>
                    <a:pt x="238" y="956"/>
                    <a:pt x="284" y="937"/>
                  </a:cubicBezTo>
                  <a:cubicBezTo>
                    <a:pt x="337" y="910"/>
                    <a:pt x="376" y="910"/>
                    <a:pt x="436" y="903"/>
                  </a:cubicBezTo>
                  <a:cubicBezTo>
                    <a:pt x="469" y="897"/>
                    <a:pt x="488" y="884"/>
                    <a:pt x="515" y="884"/>
                  </a:cubicBezTo>
                  <a:cubicBezTo>
                    <a:pt x="535" y="884"/>
                    <a:pt x="541" y="910"/>
                    <a:pt x="561" y="910"/>
                  </a:cubicBezTo>
                  <a:cubicBezTo>
                    <a:pt x="594" y="910"/>
                    <a:pt x="614" y="910"/>
                    <a:pt x="647" y="910"/>
                  </a:cubicBezTo>
                  <a:cubicBezTo>
                    <a:pt x="693" y="910"/>
                    <a:pt x="733" y="903"/>
                    <a:pt x="772" y="877"/>
                  </a:cubicBezTo>
                  <a:cubicBezTo>
                    <a:pt x="772" y="890"/>
                    <a:pt x="772" y="903"/>
                    <a:pt x="772" y="923"/>
                  </a:cubicBezTo>
                  <a:cubicBezTo>
                    <a:pt x="772" y="963"/>
                    <a:pt x="798" y="983"/>
                    <a:pt x="798" y="1022"/>
                  </a:cubicBezTo>
                  <a:cubicBezTo>
                    <a:pt x="798" y="1049"/>
                    <a:pt x="798" y="1062"/>
                    <a:pt x="798" y="1088"/>
                  </a:cubicBezTo>
                  <a:cubicBezTo>
                    <a:pt x="798" y="1121"/>
                    <a:pt x="772" y="1134"/>
                    <a:pt x="772" y="1167"/>
                  </a:cubicBezTo>
                  <a:cubicBezTo>
                    <a:pt x="766" y="1200"/>
                    <a:pt x="779" y="1233"/>
                    <a:pt x="752" y="1260"/>
                  </a:cubicBezTo>
                  <a:cubicBezTo>
                    <a:pt x="752" y="1345"/>
                    <a:pt x="845" y="1385"/>
                    <a:pt x="851" y="1471"/>
                  </a:cubicBezTo>
                  <a:cubicBezTo>
                    <a:pt x="845" y="1543"/>
                    <a:pt x="831" y="1616"/>
                    <a:pt x="825" y="1688"/>
                  </a:cubicBezTo>
                  <a:cubicBezTo>
                    <a:pt x="825" y="1754"/>
                    <a:pt x="831" y="1800"/>
                    <a:pt x="878" y="1840"/>
                  </a:cubicBezTo>
                  <a:cubicBezTo>
                    <a:pt x="897" y="1860"/>
                    <a:pt x="930" y="1867"/>
                    <a:pt x="930" y="1893"/>
                  </a:cubicBezTo>
                  <a:cubicBezTo>
                    <a:pt x="930" y="1939"/>
                    <a:pt x="911" y="1959"/>
                    <a:pt x="911" y="2005"/>
                  </a:cubicBezTo>
                  <a:cubicBezTo>
                    <a:pt x="911" y="2012"/>
                    <a:pt x="911" y="2018"/>
                    <a:pt x="911" y="2025"/>
                  </a:cubicBezTo>
                  <a:cubicBezTo>
                    <a:pt x="924" y="2018"/>
                    <a:pt x="944" y="2012"/>
                    <a:pt x="957" y="2012"/>
                  </a:cubicBezTo>
                  <a:cubicBezTo>
                    <a:pt x="1003" y="2012"/>
                    <a:pt x="1016" y="2051"/>
                    <a:pt x="1062" y="2078"/>
                  </a:cubicBezTo>
                  <a:cubicBezTo>
                    <a:pt x="1102" y="2104"/>
                    <a:pt x="1128" y="2124"/>
                    <a:pt x="1174" y="2150"/>
                  </a:cubicBezTo>
                  <a:cubicBezTo>
                    <a:pt x="1221" y="2170"/>
                    <a:pt x="1214" y="2223"/>
                    <a:pt x="1240" y="2269"/>
                  </a:cubicBezTo>
                  <a:cubicBezTo>
                    <a:pt x="1273" y="2308"/>
                    <a:pt x="1313" y="2308"/>
                    <a:pt x="1359" y="2315"/>
                  </a:cubicBezTo>
                  <a:cubicBezTo>
                    <a:pt x="1392" y="2328"/>
                    <a:pt x="1405" y="2354"/>
                    <a:pt x="1445" y="2354"/>
                  </a:cubicBezTo>
                  <a:cubicBezTo>
                    <a:pt x="1471" y="2354"/>
                    <a:pt x="1491" y="2341"/>
                    <a:pt x="1517" y="2328"/>
                  </a:cubicBezTo>
                  <a:cubicBezTo>
                    <a:pt x="1537" y="2315"/>
                    <a:pt x="1551" y="2322"/>
                    <a:pt x="1577" y="2315"/>
                  </a:cubicBezTo>
                  <a:cubicBezTo>
                    <a:pt x="1603" y="2315"/>
                    <a:pt x="1623" y="2295"/>
                    <a:pt x="1649" y="2295"/>
                  </a:cubicBezTo>
                  <a:cubicBezTo>
                    <a:pt x="1722" y="2295"/>
                    <a:pt x="1748" y="2341"/>
                    <a:pt x="1821" y="2348"/>
                  </a:cubicBezTo>
                  <a:cubicBezTo>
                    <a:pt x="1841" y="2348"/>
                    <a:pt x="1854" y="2348"/>
                    <a:pt x="1874" y="2348"/>
                  </a:cubicBezTo>
                  <a:cubicBezTo>
                    <a:pt x="1907" y="2348"/>
                    <a:pt x="1913" y="2381"/>
                    <a:pt x="1933" y="2407"/>
                  </a:cubicBezTo>
                  <a:cubicBezTo>
                    <a:pt x="1999" y="2467"/>
                    <a:pt x="2039" y="2493"/>
                    <a:pt x="2111" y="2533"/>
                  </a:cubicBezTo>
                  <a:cubicBezTo>
                    <a:pt x="2203" y="2513"/>
                    <a:pt x="2203" y="2513"/>
                    <a:pt x="2203" y="2513"/>
                  </a:cubicBezTo>
                  <a:cubicBezTo>
                    <a:pt x="2256" y="2533"/>
                    <a:pt x="2276" y="2566"/>
                    <a:pt x="2335" y="2579"/>
                  </a:cubicBezTo>
                  <a:cubicBezTo>
                    <a:pt x="2375" y="2592"/>
                    <a:pt x="2408" y="2592"/>
                    <a:pt x="2434" y="2618"/>
                  </a:cubicBezTo>
                  <a:cubicBezTo>
                    <a:pt x="2467" y="2651"/>
                    <a:pt x="2500" y="2665"/>
                    <a:pt x="2520" y="2704"/>
                  </a:cubicBezTo>
                  <a:cubicBezTo>
                    <a:pt x="2533" y="2750"/>
                    <a:pt x="2527" y="2816"/>
                    <a:pt x="2573" y="2816"/>
                  </a:cubicBezTo>
                  <a:cubicBezTo>
                    <a:pt x="2606" y="2816"/>
                    <a:pt x="2612" y="2783"/>
                    <a:pt x="2645" y="2783"/>
                  </a:cubicBezTo>
                  <a:cubicBezTo>
                    <a:pt x="2665" y="2783"/>
                    <a:pt x="2678" y="2790"/>
                    <a:pt x="2698" y="2796"/>
                  </a:cubicBezTo>
                  <a:cubicBezTo>
                    <a:pt x="2771" y="2796"/>
                    <a:pt x="2810" y="2829"/>
                    <a:pt x="2883" y="2829"/>
                  </a:cubicBezTo>
                  <a:cubicBezTo>
                    <a:pt x="2922" y="2829"/>
                    <a:pt x="2949" y="2816"/>
                    <a:pt x="2988" y="2816"/>
                  </a:cubicBezTo>
                  <a:cubicBezTo>
                    <a:pt x="3015" y="2816"/>
                    <a:pt x="3028" y="2829"/>
                    <a:pt x="3048" y="2836"/>
                  </a:cubicBezTo>
                  <a:lnTo>
                    <a:pt x="3048" y="2836"/>
                  </a:lnTo>
                  <a:cubicBezTo>
                    <a:pt x="3067" y="2783"/>
                    <a:pt x="3094" y="2770"/>
                    <a:pt x="3134" y="2724"/>
                  </a:cubicBezTo>
                  <a:cubicBezTo>
                    <a:pt x="3206" y="2625"/>
                    <a:pt x="3252" y="2579"/>
                    <a:pt x="3345" y="2486"/>
                  </a:cubicBezTo>
                  <a:cubicBezTo>
                    <a:pt x="3404" y="2427"/>
                    <a:pt x="3410" y="2374"/>
                    <a:pt x="3430" y="2289"/>
                  </a:cubicBezTo>
                  <a:cubicBezTo>
                    <a:pt x="3443" y="2236"/>
                    <a:pt x="3457" y="2203"/>
                    <a:pt x="3483" y="2150"/>
                  </a:cubicBezTo>
                  <a:cubicBezTo>
                    <a:pt x="3496" y="2124"/>
                    <a:pt x="3523" y="2110"/>
                    <a:pt x="3523" y="2084"/>
                  </a:cubicBezTo>
                  <a:cubicBezTo>
                    <a:pt x="3523" y="2051"/>
                    <a:pt x="3509" y="2038"/>
                    <a:pt x="3509" y="2005"/>
                  </a:cubicBezTo>
                  <a:cubicBezTo>
                    <a:pt x="3490" y="1965"/>
                    <a:pt x="3450" y="1946"/>
                    <a:pt x="3450" y="1893"/>
                  </a:cubicBezTo>
                  <a:cubicBezTo>
                    <a:pt x="3450" y="1834"/>
                    <a:pt x="3516" y="1814"/>
                    <a:pt x="3516" y="1748"/>
                  </a:cubicBezTo>
                  <a:cubicBezTo>
                    <a:pt x="3516" y="1662"/>
                    <a:pt x="3450" y="1623"/>
                    <a:pt x="3371" y="1589"/>
                  </a:cubicBezTo>
                  <a:cubicBezTo>
                    <a:pt x="3318" y="1563"/>
                    <a:pt x="3285" y="1537"/>
                    <a:pt x="3226" y="1537"/>
                  </a:cubicBezTo>
                  <a:cubicBezTo>
                    <a:pt x="3199" y="1537"/>
                    <a:pt x="3180" y="1537"/>
                    <a:pt x="3153" y="1537"/>
                  </a:cubicBezTo>
                  <a:cubicBezTo>
                    <a:pt x="3074" y="1537"/>
                    <a:pt x="3021" y="1517"/>
                    <a:pt x="2962" y="1457"/>
                  </a:cubicBezTo>
                  <a:cubicBezTo>
                    <a:pt x="2909" y="1405"/>
                    <a:pt x="2903" y="1352"/>
                    <a:pt x="2870" y="1280"/>
                  </a:cubicBezTo>
                  <a:cubicBezTo>
                    <a:pt x="2804" y="1134"/>
                    <a:pt x="2764" y="1042"/>
                    <a:pt x="2764" y="884"/>
                  </a:cubicBezTo>
                  <a:cubicBezTo>
                    <a:pt x="2764" y="772"/>
                    <a:pt x="2764" y="712"/>
                    <a:pt x="2764" y="600"/>
                  </a:cubicBezTo>
                  <a:cubicBezTo>
                    <a:pt x="2711" y="508"/>
                    <a:pt x="2659" y="468"/>
                    <a:pt x="2593" y="396"/>
                  </a:cubicBezTo>
                  <a:lnTo>
                    <a:pt x="2593" y="396"/>
                  </a:lnTo>
                  <a:cubicBezTo>
                    <a:pt x="2566" y="396"/>
                    <a:pt x="2553" y="396"/>
                    <a:pt x="2527" y="396"/>
                  </a:cubicBezTo>
                  <a:cubicBezTo>
                    <a:pt x="2474" y="396"/>
                    <a:pt x="2441" y="396"/>
                    <a:pt x="2381" y="396"/>
                  </a:cubicBezTo>
                  <a:cubicBezTo>
                    <a:pt x="2157" y="6"/>
                    <a:pt x="2157" y="6"/>
                    <a:pt x="2157" y="6"/>
                  </a:cubicBezTo>
                  <a:cubicBezTo>
                    <a:pt x="1669" y="0"/>
                    <a:pt x="1669" y="0"/>
                    <a:pt x="1669" y="0"/>
                  </a:cubicBezTo>
                  <a:cubicBezTo>
                    <a:pt x="1630" y="33"/>
                    <a:pt x="1616" y="59"/>
                    <a:pt x="1583" y="99"/>
                  </a:cubicBezTo>
                  <a:cubicBezTo>
                    <a:pt x="1570" y="119"/>
                    <a:pt x="1557" y="145"/>
                    <a:pt x="1531" y="138"/>
                  </a:cubicBezTo>
                  <a:cubicBezTo>
                    <a:pt x="1452" y="138"/>
                    <a:pt x="1372" y="185"/>
                    <a:pt x="1372" y="264"/>
                  </a:cubicBezTo>
                  <a:cubicBezTo>
                    <a:pt x="1372" y="290"/>
                    <a:pt x="1379" y="297"/>
                    <a:pt x="1379" y="323"/>
                  </a:cubicBezTo>
                  <a:cubicBezTo>
                    <a:pt x="1379" y="396"/>
                    <a:pt x="1326" y="429"/>
                    <a:pt x="1267" y="462"/>
                  </a:cubicBezTo>
                  <a:cubicBezTo>
                    <a:pt x="1201" y="495"/>
                    <a:pt x="1168" y="508"/>
                    <a:pt x="1102" y="534"/>
                  </a:cubicBezTo>
                  <a:cubicBezTo>
                    <a:pt x="1042" y="560"/>
                    <a:pt x="983" y="547"/>
                    <a:pt x="950" y="600"/>
                  </a:cubicBezTo>
                  <a:cubicBezTo>
                    <a:pt x="944" y="607"/>
                    <a:pt x="950" y="620"/>
                    <a:pt x="944" y="627"/>
                  </a:cubicBezTo>
                  <a:cubicBezTo>
                    <a:pt x="917" y="653"/>
                    <a:pt x="891" y="659"/>
                    <a:pt x="858" y="666"/>
                  </a:cubicBezTo>
                  <a:cubicBezTo>
                    <a:pt x="831" y="673"/>
                    <a:pt x="818" y="692"/>
                    <a:pt x="792" y="692"/>
                  </a:cubicBezTo>
                  <a:cubicBezTo>
                    <a:pt x="759" y="692"/>
                    <a:pt x="739" y="692"/>
                    <a:pt x="713" y="692"/>
                  </a:cubicBezTo>
                  <a:cubicBezTo>
                    <a:pt x="693" y="692"/>
                    <a:pt x="686" y="679"/>
                    <a:pt x="667" y="673"/>
                  </a:cubicBezTo>
                  <a:cubicBezTo>
                    <a:pt x="607" y="653"/>
                    <a:pt x="568" y="640"/>
                    <a:pt x="495" y="640"/>
                  </a:cubicBezTo>
                  <a:cubicBezTo>
                    <a:pt x="462" y="640"/>
                    <a:pt x="449" y="679"/>
                    <a:pt x="423" y="699"/>
                  </a:cubicBezTo>
                  <a:cubicBezTo>
                    <a:pt x="356" y="739"/>
                    <a:pt x="310" y="752"/>
                    <a:pt x="251" y="798"/>
                  </a:cubicBezTo>
                  <a:cubicBezTo>
                    <a:pt x="211" y="831"/>
                    <a:pt x="179" y="831"/>
                    <a:pt x="126" y="844"/>
                  </a:cubicBezTo>
                  <a:cubicBezTo>
                    <a:pt x="80" y="857"/>
                    <a:pt x="53" y="864"/>
                    <a:pt x="0" y="87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" name="Freeform 35"/>
            <p:cNvSpPr>
              <a:spLocks noChangeArrowheads="1"/>
            </p:cNvSpPr>
            <p:nvPr/>
          </p:nvSpPr>
          <p:spPr bwMode="auto">
            <a:xfrm>
              <a:off x="3389887" y="3910007"/>
              <a:ext cx="3185904" cy="2165350"/>
            </a:xfrm>
            <a:custGeom>
              <a:avLst/>
              <a:gdLst>
                <a:gd name="T0" fmla="*/ 8027 w 8852"/>
                <a:gd name="T1" fmla="*/ 5184 h 6017"/>
                <a:gd name="T2" fmla="*/ 7928 w 8852"/>
                <a:gd name="T3" fmla="*/ 5534 h 6017"/>
                <a:gd name="T4" fmla="*/ 6009 w 8852"/>
                <a:gd name="T5" fmla="*/ 5541 h 6017"/>
                <a:gd name="T6" fmla="*/ 5573 w 8852"/>
                <a:gd name="T7" fmla="*/ 5151 h 6017"/>
                <a:gd name="T8" fmla="*/ 4947 w 8852"/>
                <a:gd name="T9" fmla="*/ 5283 h 6017"/>
                <a:gd name="T10" fmla="*/ 4683 w 8852"/>
                <a:gd name="T11" fmla="*/ 5607 h 6017"/>
                <a:gd name="T12" fmla="*/ 4360 w 8852"/>
                <a:gd name="T13" fmla="*/ 5772 h 6017"/>
                <a:gd name="T14" fmla="*/ 4129 w 8852"/>
                <a:gd name="T15" fmla="*/ 5837 h 6017"/>
                <a:gd name="T16" fmla="*/ 3839 w 8852"/>
                <a:gd name="T17" fmla="*/ 5844 h 6017"/>
                <a:gd name="T18" fmla="*/ 3416 w 8852"/>
                <a:gd name="T19" fmla="*/ 6016 h 6017"/>
                <a:gd name="T20" fmla="*/ 0 w 8852"/>
                <a:gd name="T21" fmla="*/ 4743 h 6017"/>
                <a:gd name="T22" fmla="*/ 59 w 8852"/>
                <a:gd name="T23" fmla="*/ 4591 h 6017"/>
                <a:gd name="T24" fmla="*/ 290 w 8852"/>
                <a:gd name="T25" fmla="*/ 4380 h 6017"/>
                <a:gd name="T26" fmla="*/ 336 w 8852"/>
                <a:gd name="T27" fmla="*/ 4017 h 6017"/>
                <a:gd name="T28" fmla="*/ 389 w 8852"/>
                <a:gd name="T29" fmla="*/ 3753 h 6017"/>
                <a:gd name="T30" fmla="*/ 712 w 8852"/>
                <a:gd name="T31" fmla="*/ 3516 h 6017"/>
                <a:gd name="T32" fmla="*/ 903 w 8852"/>
                <a:gd name="T33" fmla="*/ 3463 h 6017"/>
                <a:gd name="T34" fmla="*/ 1299 w 8852"/>
                <a:gd name="T35" fmla="*/ 3311 h 6017"/>
                <a:gd name="T36" fmla="*/ 1596 w 8852"/>
                <a:gd name="T37" fmla="*/ 3153 h 6017"/>
                <a:gd name="T38" fmla="*/ 1814 w 8852"/>
                <a:gd name="T39" fmla="*/ 3212 h 6017"/>
                <a:gd name="T40" fmla="*/ 2051 w 8852"/>
                <a:gd name="T41" fmla="*/ 2368 h 6017"/>
                <a:gd name="T42" fmla="*/ 2150 w 8852"/>
                <a:gd name="T43" fmla="*/ 1847 h 6017"/>
                <a:gd name="T44" fmla="*/ 2084 w 8852"/>
                <a:gd name="T45" fmla="*/ 1570 h 6017"/>
                <a:gd name="T46" fmla="*/ 1899 w 8852"/>
                <a:gd name="T47" fmla="*/ 1254 h 6017"/>
                <a:gd name="T48" fmla="*/ 1767 w 8852"/>
                <a:gd name="T49" fmla="*/ 1003 h 6017"/>
                <a:gd name="T50" fmla="*/ 2051 w 8852"/>
                <a:gd name="T51" fmla="*/ 772 h 6017"/>
                <a:gd name="T52" fmla="*/ 2256 w 8852"/>
                <a:gd name="T53" fmla="*/ 666 h 6017"/>
                <a:gd name="T54" fmla="*/ 1952 w 8852"/>
                <a:gd name="T55" fmla="*/ 489 h 6017"/>
                <a:gd name="T56" fmla="*/ 1919 w 8852"/>
                <a:gd name="T57" fmla="*/ 146 h 6017"/>
                <a:gd name="T58" fmla="*/ 2460 w 8852"/>
                <a:gd name="T59" fmla="*/ 146 h 6017"/>
                <a:gd name="T60" fmla="*/ 2783 w 8852"/>
                <a:gd name="T61" fmla="*/ 20 h 6017"/>
                <a:gd name="T62" fmla="*/ 3027 w 8852"/>
                <a:gd name="T63" fmla="*/ 20 h 6017"/>
                <a:gd name="T64" fmla="*/ 3212 w 8852"/>
                <a:gd name="T65" fmla="*/ 93 h 6017"/>
                <a:gd name="T66" fmla="*/ 3370 w 8852"/>
                <a:gd name="T67" fmla="*/ 376 h 6017"/>
                <a:gd name="T68" fmla="*/ 3555 w 8852"/>
                <a:gd name="T69" fmla="*/ 508 h 6017"/>
                <a:gd name="T70" fmla="*/ 4149 w 8852"/>
                <a:gd name="T71" fmla="*/ 528 h 6017"/>
                <a:gd name="T72" fmla="*/ 4755 w 8852"/>
                <a:gd name="T73" fmla="*/ 172 h 6017"/>
                <a:gd name="T74" fmla="*/ 5217 w 8852"/>
                <a:gd name="T75" fmla="*/ 33 h 6017"/>
                <a:gd name="T76" fmla="*/ 5455 w 8852"/>
                <a:gd name="T77" fmla="*/ 422 h 6017"/>
                <a:gd name="T78" fmla="*/ 5646 w 8852"/>
                <a:gd name="T79" fmla="*/ 726 h 6017"/>
                <a:gd name="T80" fmla="*/ 5692 w 8852"/>
                <a:gd name="T81" fmla="*/ 1043 h 6017"/>
                <a:gd name="T82" fmla="*/ 5864 w 8852"/>
                <a:gd name="T83" fmla="*/ 1531 h 6017"/>
                <a:gd name="T84" fmla="*/ 6081 w 8852"/>
                <a:gd name="T85" fmla="*/ 1775 h 6017"/>
                <a:gd name="T86" fmla="*/ 6239 w 8852"/>
                <a:gd name="T87" fmla="*/ 1511 h 6017"/>
                <a:gd name="T88" fmla="*/ 6609 w 8852"/>
                <a:gd name="T89" fmla="*/ 1491 h 6017"/>
                <a:gd name="T90" fmla="*/ 6780 w 8852"/>
                <a:gd name="T91" fmla="*/ 1280 h 6017"/>
                <a:gd name="T92" fmla="*/ 7156 w 8852"/>
                <a:gd name="T93" fmla="*/ 1036 h 6017"/>
                <a:gd name="T94" fmla="*/ 7334 w 8852"/>
                <a:gd name="T95" fmla="*/ 442 h 6017"/>
                <a:gd name="T96" fmla="*/ 7374 w 8852"/>
                <a:gd name="T97" fmla="*/ 1273 h 6017"/>
                <a:gd name="T98" fmla="*/ 7532 w 8852"/>
                <a:gd name="T99" fmla="*/ 1478 h 6017"/>
                <a:gd name="T100" fmla="*/ 7717 w 8852"/>
                <a:gd name="T101" fmla="*/ 1689 h 6017"/>
                <a:gd name="T102" fmla="*/ 7941 w 8852"/>
                <a:gd name="T103" fmla="*/ 1900 h 6017"/>
                <a:gd name="T104" fmla="*/ 8205 w 8852"/>
                <a:gd name="T105" fmla="*/ 1959 h 6017"/>
                <a:gd name="T106" fmla="*/ 8541 w 8852"/>
                <a:gd name="T107" fmla="*/ 2091 h 6017"/>
                <a:gd name="T108" fmla="*/ 8851 w 8852"/>
                <a:gd name="T109" fmla="*/ 2210 h 6017"/>
                <a:gd name="T110" fmla="*/ 8218 w 8852"/>
                <a:gd name="T111" fmla="*/ 4505 h 6017"/>
                <a:gd name="T112" fmla="*/ 8119 w 8852"/>
                <a:gd name="T113" fmla="*/ 4716 h 6017"/>
                <a:gd name="T114" fmla="*/ 8139 w 8852"/>
                <a:gd name="T115" fmla="*/ 4901 h 6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852" h="6017">
                  <a:moveTo>
                    <a:pt x="8139" y="4901"/>
                  </a:moveTo>
                  <a:lnTo>
                    <a:pt x="8139" y="4901"/>
                  </a:lnTo>
                  <a:cubicBezTo>
                    <a:pt x="8073" y="5000"/>
                    <a:pt x="8027" y="5066"/>
                    <a:pt x="8027" y="5184"/>
                  </a:cubicBezTo>
                  <a:cubicBezTo>
                    <a:pt x="8027" y="5211"/>
                    <a:pt x="8040" y="5224"/>
                    <a:pt x="8040" y="5250"/>
                  </a:cubicBezTo>
                  <a:cubicBezTo>
                    <a:pt x="8040" y="5283"/>
                    <a:pt x="8007" y="5297"/>
                    <a:pt x="7994" y="5330"/>
                  </a:cubicBezTo>
                  <a:cubicBezTo>
                    <a:pt x="7961" y="5409"/>
                    <a:pt x="7928" y="5448"/>
                    <a:pt x="7928" y="5534"/>
                  </a:cubicBezTo>
                  <a:cubicBezTo>
                    <a:pt x="7928" y="5547"/>
                    <a:pt x="7928" y="5554"/>
                    <a:pt x="7928" y="5560"/>
                  </a:cubicBezTo>
                  <a:cubicBezTo>
                    <a:pt x="6009" y="5541"/>
                    <a:pt x="6009" y="5541"/>
                    <a:pt x="6009" y="5541"/>
                  </a:cubicBezTo>
                  <a:lnTo>
                    <a:pt x="6009" y="5541"/>
                  </a:lnTo>
                  <a:cubicBezTo>
                    <a:pt x="5982" y="5541"/>
                    <a:pt x="5969" y="5541"/>
                    <a:pt x="5943" y="5541"/>
                  </a:cubicBezTo>
                  <a:cubicBezTo>
                    <a:pt x="5890" y="5541"/>
                    <a:pt x="5857" y="5541"/>
                    <a:pt x="5797" y="5541"/>
                  </a:cubicBezTo>
                  <a:cubicBezTo>
                    <a:pt x="5573" y="5151"/>
                    <a:pt x="5573" y="5151"/>
                    <a:pt x="5573" y="5151"/>
                  </a:cubicBezTo>
                  <a:cubicBezTo>
                    <a:pt x="5085" y="5145"/>
                    <a:pt x="5085" y="5145"/>
                    <a:pt x="5085" y="5145"/>
                  </a:cubicBezTo>
                  <a:cubicBezTo>
                    <a:pt x="5046" y="5178"/>
                    <a:pt x="5032" y="5204"/>
                    <a:pt x="4999" y="5244"/>
                  </a:cubicBezTo>
                  <a:cubicBezTo>
                    <a:pt x="4986" y="5264"/>
                    <a:pt x="4973" y="5290"/>
                    <a:pt x="4947" y="5283"/>
                  </a:cubicBezTo>
                  <a:cubicBezTo>
                    <a:pt x="4868" y="5283"/>
                    <a:pt x="4788" y="5330"/>
                    <a:pt x="4788" y="5409"/>
                  </a:cubicBezTo>
                  <a:cubicBezTo>
                    <a:pt x="4788" y="5435"/>
                    <a:pt x="4795" y="5442"/>
                    <a:pt x="4795" y="5468"/>
                  </a:cubicBezTo>
                  <a:cubicBezTo>
                    <a:pt x="4795" y="5541"/>
                    <a:pt x="4742" y="5574"/>
                    <a:pt x="4683" y="5607"/>
                  </a:cubicBezTo>
                  <a:cubicBezTo>
                    <a:pt x="4617" y="5640"/>
                    <a:pt x="4584" y="5653"/>
                    <a:pt x="4518" y="5679"/>
                  </a:cubicBezTo>
                  <a:cubicBezTo>
                    <a:pt x="4458" y="5705"/>
                    <a:pt x="4399" y="5692"/>
                    <a:pt x="4366" y="5745"/>
                  </a:cubicBezTo>
                  <a:cubicBezTo>
                    <a:pt x="4360" y="5752"/>
                    <a:pt x="4366" y="5765"/>
                    <a:pt x="4360" y="5772"/>
                  </a:cubicBezTo>
                  <a:cubicBezTo>
                    <a:pt x="4333" y="5798"/>
                    <a:pt x="4307" y="5804"/>
                    <a:pt x="4274" y="5811"/>
                  </a:cubicBezTo>
                  <a:cubicBezTo>
                    <a:pt x="4247" y="5818"/>
                    <a:pt x="4234" y="5837"/>
                    <a:pt x="4208" y="5837"/>
                  </a:cubicBezTo>
                  <a:cubicBezTo>
                    <a:pt x="4175" y="5837"/>
                    <a:pt x="4155" y="5837"/>
                    <a:pt x="4129" y="5837"/>
                  </a:cubicBezTo>
                  <a:cubicBezTo>
                    <a:pt x="4109" y="5837"/>
                    <a:pt x="4102" y="5824"/>
                    <a:pt x="4083" y="5818"/>
                  </a:cubicBezTo>
                  <a:cubicBezTo>
                    <a:pt x="4023" y="5798"/>
                    <a:pt x="3984" y="5785"/>
                    <a:pt x="3911" y="5785"/>
                  </a:cubicBezTo>
                  <a:cubicBezTo>
                    <a:pt x="3878" y="5785"/>
                    <a:pt x="3865" y="5824"/>
                    <a:pt x="3839" y="5844"/>
                  </a:cubicBezTo>
                  <a:cubicBezTo>
                    <a:pt x="3772" y="5884"/>
                    <a:pt x="3726" y="5897"/>
                    <a:pt x="3667" y="5943"/>
                  </a:cubicBezTo>
                  <a:cubicBezTo>
                    <a:pt x="3627" y="5976"/>
                    <a:pt x="3595" y="5976"/>
                    <a:pt x="3542" y="5989"/>
                  </a:cubicBezTo>
                  <a:cubicBezTo>
                    <a:pt x="3496" y="6002"/>
                    <a:pt x="3469" y="6009"/>
                    <a:pt x="3416" y="6016"/>
                  </a:cubicBezTo>
                  <a:lnTo>
                    <a:pt x="3416" y="6016"/>
                  </a:lnTo>
                  <a:cubicBezTo>
                    <a:pt x="2823" y="5758"/>
                    <a:pt x="2823" y="5758"/>
                    <a:pt x="2823" y="5758"/>
                  </a:cubicBezTo>
                  <a:cubicBezTo>
                    <a:pt x="0" y="4743"/>
                    <a:pt x="0" y="4743"/>
                    <a:pt x="0" y="4743"/>
                  </a:cubicBezTo>
                  <a:lnTo>
                    <a:pt x="0" y="4743"/>
                  </a:lnTo>
                  <a:cubicBezTo>
                    <a:pt x="6" y="4710"/>
                    <a:pt x="26" y="4690"/>
                    <a:pt x="39" y="4657"/>
                  </a:cubicBezTo>
                  <a:cubicBezTo>
                    <a:pt x="46" y="4637"/>
                    <a:pt x="46" y="4617"/>
                    <a:pt x="59" y="4591"/>
                  </a:cubicBezTo>
                  <a:cubicBezTo>
                    <a:pt x="79" y="4564"/>
                    <a:pt x="99" y="4551"/>
                    <a:pt x="125" y="4532"/>
                  </a:cubicBezTo>
                  <a:cubicBezTo>
                    <a:pt x="184" y="4499"/>
                    <a:pt x="231" y="4499"/>
                    <a:pt x="290" y="4466"/>
                  </a:cubicBezTo>
                  <a:cubicBezTo>
                    <a:pt x="323" y="4452"/>
                    <a:pt x="290" y="4413"/>
                    <a:pt x="290" y="4380"/>
                  </a:cubicBezTo>
                  <a:cubicBezTo>
                    <a:pt x="290" y="4301"/>
                    <a:pt x="231" y="4268"/>
                    <a:pt x="231" y="4189"/>
                  </a:cubicBezTo>
                  <a:cubicBezTo>
                    <a:pt x="231" y="4142"/>
                    <a:pt x="231" y="4109"/>
                    <a:pt x="263" y="4083"/>
                  </a:cubicBezTo>
                  <a:cubicBezTo>
                    <a:pt x="297" y="4063"/>
                    <a:pt x="323" y="4057"/>
                    <a:pt x="336" y="4017"/>
                  </a:cubicBezTo>
                  <a:cubicBezTo>
                    <a:pt x="349" y="3991"/>
                    <a:pt x="343" y="3971"/>
                    <a:pt x="356" y="3938"/>
                  </a:cubicBezTo>
                  <a:cubicBezTo>
                    <a:pt x="369" y="3885"/>
                    <a:pt x="389" y="3852"/>
                    <a:pt x="389" y="3799"/>
                  </a:cubicBezTo>
                  <a:cubicBezTo>
                    <a:pt x="389" y="3780"/>
                    <a:pt x="369" y="3760"/>
                    <a:pt x="389" y="3753"/>
                  </a:cubicBezTo>
                  <a:cubicBezTo>
                    <a:pt x="455" y="3694"/>
                    <a:pt x="527" y="3700"/>
                    <a:pt x="587" y="3641"/>
                  </a:cubicBezTo>
                  <a:cubicBezTo>
                    <a:pt x="600" y="3621"/>
                    <a:pt x="600" y="3608"/>
                    <a:pt x="620" y="3595"/>
                  </a:cubicBezTo>
                  <a:cubicBezTo>
                    <a:pt x="659" y="3575"/>
                    <a:pt x="673" y="3549"/>
                    <a:pt x="712" y="3516"/>
                  </a:cubicBezTo>
                  <a:cubicBezTo>
                    <a:pt x="732" y="3503"/>
                    <a:pt x="752" y="3536"/>
                    <a:pt x="778" y="3536"/>
                  </a:cubicBezTo>
                  <a:cubicBezTo>
                    <a:pt x="798" y="3536"/>
                    <a:pt x="804" y="3522"/>
                    <a:pt x="818" y="3509"/>
                  </a:cubicBezTo>
                  <a:cubicBezTo>
                    <a:pt x="844" y="3483"/>
                    <a:pt x="870" y="3483"/>
                    <a:pt x="903" y="3463"/>
                  </a:cubicBezTo>
                  <a:cubicBezTo>
                    <a:pt x="936" y="3437"/>
                    <a:pt x="956" y="3410"/>
                    <a:pt x="996" y="3404"/>
                  </a:cubicBezTo>
                  <a:cubicBezTo>
                    <a:pt x="1081" y="3391"/>
                    <a:pt x="1128" y="3371"/>
                    <a:pt x="1207" y="3351"/>
                  </a:cubicBezTo>
                  <a:cubicBezTo>
                    <a:pt x="1246" y="3338"/>
                    <a:pt x="1273" y="3331"/>
                    <a:pt x="1299" y="3311"/>
                  </a:cubicBezTo>
                  <a:cubicBezTo>
                    <a:pt x="1319" y="3298"/>
                    <a:pt x="1332" y="3305"/>
                    <a:pt x="1345" y="3285"/>
                  </a:cubicBezTo>
                  <a:cubicBezTo>
                    <a:pt x="1378" y="3245"/>
                    <a:pt x="1385" y="3212"/>
                    <a:pt x="1431" y="3186"/>
                  </a:cubicBezTo>
                  <a:cubicBezTo>
                    <a:pt x="1484" y="3146"/>
                    <a:pt x="1530" y="3153"/>
                    <a:pt x="1596" y="3153"/>
                  </a:cubicBezTo>
                  <a:cubicBezTo>
                    <a:pt x="1662" y="3153"/>
                    <a:pt x="1688" y="3219"/>
                    <a:pt x="1754" y="3219"/>
                  </a:cubicBezTo>
                  <a:cubicBezTo>
                    <a:pt x="1774" y="3219"/>
                    <a:pt x="1794" y="3212"/>
                    <a:pt x="1814" y="3212"/>
                  </a:cubicBezTo>
                  <a:lnTo>
                    <a:pt x="1814" y="3212"/>
                  </a:lnTo>
                  <a:cubicBezTo>
                    <a:pt x="1827" y="3127"/>
                    <a:pt x="1860" y="3107"/>
                    <a:pt x="1886" y="3028"/>
                  </a:cubicBezTo>
                  <a:cubicBezTo>
                    <a:pt x="1945" y="2856"/>
                    <a:pt x="1965" y="2751"/>
                    <a:pt x="2005" y="2566"/>
                  </a:cubicBezTo>
                  <a:cubicBezTo>
                    <a:pt x="2025" y="2494"/>
                    <a:pt x="2051" y="2447"/>
                    <a:pt x="2051" y="2368"/>
                  </a:cubicBezTo>
                  <a:cubicBezTo>
                    <a:pt x="2051" y="2335"/>
                    <a:pt x="2051" y="2315"/>
                    <a:pt x="2051" y="2283"/>
                  </a:cubicBezTo>
                  <a:cubicBezTo>
                    <a:pt x="2130" y="1933"/>
                    <a:pt x="2130" y="1933"/>
                    <a:pt x="2130" y="1933"/>
                  </a:cubicBezTo>
                  <a:cubicBezTo>
                    <a:pt x="2137" y="1900"/>
                    <a:pt x="2150" y="1880"/>
                    <a:pt x="2150" y="1847"/>
                  </a:cubicBezTo>
                  <a:cubicBezTo>
                    <a:pt x="2150" y="1814"/>
                    <a:pt x="2150" y="1801"/>
                    <a:pt x="2150" y="1775"/>
                  </a:cubicBezTo>
                  <a:cubicBezTo>
                    <a:pt x="2150" y="1735"/>
                    <a:pt x="2124" y="1722"/>
                    <a:pt x="2110" y="1689"/>
                  </a:cubicBezTo>
                  <a:cubicBezTo>
                    <a:pt x="2097" y="1643"/>
                    <a:pt x="2110" y="1610"/>
                    <a:pt x="2084" y="1570"/>
                  </a:cubicBezTo>
                  <a:cubicBezTo>
                    <a:pt x="2044" y="1524"/>
                    <a:pt x="1985" y="1517"/>
                    <a:pt x="1985" y="1458"/>
                  </a:cubicBezTo>
                  <a:cubicBezTo>
                    <a:pt x="1985" y="1425"/>
                    <a:pt x="1998" y="1405"/>
                    <a:pt x="1998" y="1366"/>
                  </a:cubicBezTo>
                  <a:cubicBezTo>
                    <a:pt x="1998" y="1306"/>
                    <a:pt x="1945" y="1287"/>
                    <a:pt x="1899" y="1254"/>
                  </a:cubicBezTo>
                  <a:cubicBezTo>
                    <a:pt x="1860" y="1234"/>
                    <a:pt x="1846" y="1214"/>
                    <a:pt x="1814" y="1188"/>
                  </a:cubicBezTo>
                  <a:cubicBezTo>
                    <a:pt x="1781" y="1168"/>
                    <a:pt x="1734" y="1161"/>
                    <a:pt x="1734" y="1115"/>
                  </a:cubicBezTo>
                  <a:cubicBezTo>
                    <a:pt x="1734" y="1075"/>
                    <a:pt x="1761" y="1049"/>
                    <a:pt x="1767" y="1003"/>
                  </a:cubicBezTo>
                  <a:cubicBezTo>
                    <a:pt x="1774" y="963"/>
                    <a:pt x="1774" y="924"/>
                    <a:pt x="1807" y="897"/>
                  </a:cubicBezTo>
                  <a:cubicBezTo>
                    <a:pt x="1860" y="864"/>
                    <a:pt x="1893" y="858"/>
                    <a:pt x="1952" y="838"/>
                  </a:cubicBezTo>
                  <a:cubicBezTo>
                    <a:pt x="1992" y="818"/>
                    <a:pt x="2005" y="772"/>
                    <a:pt x="2051" y="772"/>
                  </a:cubicBezTo>
                  <a:cubicBezTo>
                    <a:pt x="2110" y="772"/>
                    <a:pt x="2143" y="792"/>
                    <a:pt x="2203" y="792"/>
                  </a:cubicBezTo>
                  <a:cubicBezTo>
                    <a:pt x="2223" y="798"/>
                    <a:pt x="2262" y="792"/>
                    <a:pt x="2269" y="779"/>
                  </a:cubicBezTo>
                  <a:cubicBezTo>
                    <a:pt x="2269" y="739"/>
                    <a:pt x="2269" y="713"/>
                    <a:pt x="2256" y="666"/>
                  </a:cubicBezTo>
                  <a:cubicBezTo>
                    <a:pt x="2236" y="607"/>
                    <a:pt x="2209" y="561"/>
                    <a:pt x="2143" y="541"/>
                  </a:cubicBezTo>
                  <a:cubicBezTo>
                    <a:pt x="2117" y="535"/>
                    <a:pt x="2090" y="541"/>
                    <a:pt x="2058" y="535"/>
                  </a:cubicBezTo>
                  <a:cubicBezTo>
                    <a:pt x="2018" y="521"/>
                    <a:pt x="1985" y="495"/>
                    <a:pt x="1952" y="489"/>
                  </a:cubicBezTo>
                  <a:cubicBezTo>
                    <a:pt x="1945" y="436"/>
                    <a:pt x="1945" y="409"/>
                    <a:pt x="1945" y="357"/>
                  </a:cubicBezTo>
                  <a:cubicBezTo>
                    <a:pt x="1945" y="291"/>
                    <a:pt x="1919" y="251"/>
                    <a:pt x="1919" y="185"/>
                  </a:cubicBezTo>
                  <a:cubicBezTo>
                    <a:pt x="1919" y="165"/>
                    <a:pt x="1919" y="159"/>
                    <a:pt x="1919" y="146"/>
                  </a:cubicBezTo>
                  <a:cubicBezTo>
                    <a:pt x="2025" y="132"/>
                    <a:pt x="2084" y="106"/>
                    <a:pt x="2189" y="106"/>
                  </a:cubicBezTo>
                  <a:cubicBezTo>
                    <a:pt x="2249" y="106"/>
                    <a:pt x="2282" y="106"/>
                    <a:pt x="2341" y="106"/>
                  </a:cubicBezTo>
                  <a:cubicBezTo>
                    <a:pt x="2387" y="106"/>
                    <a:pt x="2414" y="132"/>
                    <a:pt x="2460" y="146"/>
                  </a:cubicBezTo>
                  <a:cubicBezTo>
                    <a:pt x="2546" y="165"/>
                    <a:pt x="2599" y="172"/>
                    <a:pt x="2691" y="172"/>
                  </a:cubicBezTo>
                  <a:cubicBezTo>
                    <a:pt x="2711" y="172"/>
                    <a:pt x="2717" y="139"/>
                    <a:pt x="2724" y="119"/>
                  </a:cubicBezTo>
                  <a:cubicBezTo>
                    <a:pt x="2730" y="73"/>
                    <a:pt x="2737" y="20"/>
                    <a:pt x="2783" y="20"/>
                  </a:cubicBezTo>
                  <a:cubicBezTo>
                    <a:pt x="2836" y="20"/>
                    <a:pt x="2843" y="106"/>
                    <a:pt x="2902" y="106"/>
                  </a:cubicBezTo>
                  <a:cubicBezTo>
                    <a:pt x="2928" y="106"/>
                    <a:pt x="2942" y="79"/>
                    <a:pt x="2968" y="60"/>
                  </a:cubicBezTo>
                  <a:cubicBezTo>
                    <a:pt x="2988" y="47"/>
                    <a:pt x="3007" y="40"/>
                    <a:pt x="3027" y="20"/>
                  </a:cubicBezTo>
                  <a:cubicBezTo>
                    <a:pt x="3034" y="7"/>
                    <a:pt x="3041" y="0"/>
                    <a:pt x="3060" y="0"/>
                  </a:cubicBezTo>
                  <a:cubicBezTo>
                    <a:pt x="3080" y="0"/>
                    <a:pt x="3087" y="20"/>
                    <a:pt x="3100" y="27"/>
                  </a:cubicBezTo>
                  <a:cubicBezTo>
                    <a:pt x="3146" y="53"/>
                    <a:pt x="3179" y="60"/>
                    <a:pt x="3212" y="93"/>
                  </a:cubicBezTo>
                  <a:cubicBezTo>
                    <a:pt x="3252" y="132"/>
                    <a:pt x="3245" y="172"/>
                    <a:pt x="3258" y="231"/>
                  </a:cubicBezTo>
                  <a:cubicBezTo>
                    <a:pt x="3271" y="291"/>
                    <a:pt x="3298" y="317"/>
                    <a:pt x="3298" y="383"/>
                  </a:cubicBezTo>
                  <a:cubicBezTo>
                    <a:pt x="3331" y="383"/>
                    <a:pt x="3344" y="376"/>
                    <a:pt x="3370" y="376"/>
                  </a:cubicBezTo>
                  <a:cubicBezTo>
                    <a:pt x="3397" y="376"/>
                    <a:pt x="3403" y="376"/>
                    <a:pt x="3423" y="363"/>
                  </a:cubicBezTo>
                  <a:lnTo>
                    <a:pt x="3423" y="363"/>
                  </a:lnTo>
                  <a:cubicBezTo>
                    <a:pt x="3463" y="429"/>
                    <a:pt x="3496" y="462"/>
                    <a:pt x="3555" y="508"/>
                  </a:cubicBezTo>
                  <a:cubicBezTo>
                    <a:pt x="3568" y="521"/>
                    <a:pt x="3575" y="535"/>
                    <a:pt x="3588" y="548"/>
                  </a:cubicBezTo>
                  <a:cubicBezTo>
                    <a:pt x="3660" y="601"/>
                    <a:pt x="3713" y="620"/>
                    <a:pt x="3799" y="620"/>
                  </a:cubicBezTo>
                  <a:cubicBezTo>
                    <a:pt x="3944" y="620"/>
                    <a:pt x="4017" y="581"/>
                    <a:pt x="4149" y="528"/>
                  </a:cubicBezTo>
                  <a:cubicBezTo>
                    <a:pt x="4214" y="495"/>
                    <a:pt x="4234" y="442"/>
                    <a:pt x="4294" y="409"/>
                  </a:cubicBezTo>
                  <a:cubicBezTo>
                    <a:pt x="4346" y="383"/>
                    <a:pt x="4386" y="390"/>
                    <a:pt x="4445" y="370"/>
                  </a:cubicBezTo>
                  <a:cubicBezTo>
                    <a:pt x="4590" y="337"/>
                    <a:pt x="4637" y="251"/>
                    <a:pt x="4755" y="172"/>
                  </a:cubicBezTo>
                  <a:cubicBezTo>
                    <a:pt x="4881" y="99"/>
                    <a:pt x="4973" y="86"/>
                    <a:pt x="5085" y="0"/>
                  </a:cubicBezTo>
                  <a:lnTo>
                    <a:pt x="5085" y="0"/>
                  </a:lnTo>
                  <a:cubicBezTo>
                    <a:pt x="5138" y="0"/>
                    <a:pt x="5178" y="7"/>
                    <a:pt x="5217" y="33"/>
                  </a:cubicBezTo>
                  <a:cubicBezTo>
                    <a:pt x="5243" y="53"/>
                    <a:pt x="5276" y="60"/>
                    <a:pt x="5283" y="93"/>
                  </a:cubicBezTo>
                  <a:cubicBezTo>
                    <a:pt x="5309" y="178"/>
                    <a:pt x="5329" y="218"/>
                    <a:pt x="5356" y="304"/>
                  </a:cubicBezTo>
                  <a:cubicBezTo>
                    <a:pt x="5375" y="357"/>
                    <a:pt x="5408" y="390"/>
                    <a:pt x="5455" y="422"/>
                  </a:cubicBezTo>
                  <a:cubicBezTo>
                    <a:pt x="5494" y="442"/>
                    <a:pt x="5507" y="469"/>
                    <a:pt x="5547" y="495"/>
                  </a:cubicBezTo>
                  <a:cubicBezTo>
                    <a:pt x="5600" y="541"/>
                    <a:pt x="5646" y="581"/>
                    <a:pt x="5646" y="653"/>
                  </a:cubicBezTo>
                  <a:cubicBezTo>
                    <a:pt x="5646" y="680"/>
                    <a:pt x="5646" y="700"/>
                    <a:pt x="5646" y="726"/>
                  </a:cubicBezTo>
                  <a:cubicBezTo>
                    <a:pt x="5659" y="805"/>
                    <a:pt x="5659" y="805"/>
                    <a:pt x="5659" y="805"/>
                  </a:cubicBezTo>
                  <a:cubicBezTo>
                    <a:pt x="5659" y="845"/>
                    <a:pt x="5659" y="864"/>
                    <a:pt x="5659" y="904"/>
                  </a:cubicBezTo>
                  <a:cubicBezTo>
                    <a:pt x="5659" y="963"/>
                    <a:pt x="5666" y="996"/>
                    <a:pt x="5692" y="1043"/>
                  </a:cubicBezTo>
                  <a:cubicBezTo>
                    <a:pt x="5738" y="1102"/>
                    <a:pt x="5791" y="1135"/>
                    <a:pt x="5791" y="1214"/>
                  </a:cubicBezTo>
                  <a:cubicBezTo>
                    <a:pt x="5791" y="1240"/>
                    <a:pt x="5791" y="1254"/>
                    <a:pt x="5791" y="1287"/>
                  </a:cubicBezTo>
                  <a:cubicBezTo>
                    <a:pt x="5791" y="1386"/>
                    <a:pt x="5844" y="1432"/>
                    <a:pt x="5864" y="1531"/>
                  </a:cubicBezTo>
                  <a:cubicBezTo>
                    <a:pt x="5877" y="1570"/>
                    <a:pt x="5870" y="1590"/>
                    <a:pt x="5870" y="1630"/>
                  </a:cubicBezTo>
                  <a:cubicBezTo>
                    <a:pt x="5883" y="1695"/>
                    <a:pt x="5916" y="1748"/>
                    <a:pt x="5982" y="1755"/>
                  </a:cubicBezTo>
                  <a:cubicBezTo>
                    <a:pt x="6022" y="1761"/>
                    <a:pt x="6041" y="1768"/>
                    <a:pt x="6081" y="1775"/>
                  </a:cubicBezTo>
                  <a:cubicBezTo>
                    <a:pt x="6101" y="1781"/>
                    <a:pt x="6134" y="1794"/>
                    <a:pt x="6140" y="1775"/>
                  </a:cubicBezTo>
                  <a:cubicBezTo>
                    <a:pt x="6160" y="1722"/>
                    <a:pt x="6160" y="1682"/>
                    <a:pt x="6180" y="1630"/>
                  </a:cubicBezTo>
                  <a:cubicBezTo>
                    <a:pt x="6193" y="1583"/>
                    <a:pt x="6220" y="1557"/>
                    <a:pt x="6239" y="1511"/>
                  </a:cubicBezTo>
                  <a:cubicBezTo>
                    <a:pt x="6253" y="1478"/>
                    <a:pt x="6259" y="1451"/>
                    <a:pt x="6286" y="1425"/>
                  </a:cubicBezTo>
                  <a:cubicBezTo>
                    <a:pt x="6338" y="1372"/>
                    <a:pt x="6411" y="1372"/>
                    <a:pt x="6477" y="1405"/>
                  </a:cubicBezTo>
                  <a:cubicBezTo>
                    <a:pt x="6530" y="1425"/>
                    <a:pt x="6550" y="1491"/>
                    <a:pt x="6609" y="1491"/>
                  </a:cubicBezTo>
                  <a:cubicBezTo>
                    <a:pt x="6662" y="1491"/>
                    <a:pt x="6721" y="1471"/>
                    <a:pt x="6721" y="1418"/>
                  </a:cubicBezTo>
                  <a:cubicBezTo>
                    <a:pt x="6721" y="1386"/>
                    <a:pt x="6721" y="1372"/>
                    <a:pt x="6721" y="1339"/>
                  </a:cubicBezTo>
                  <a:cubicBezTo>
                    <a:pt x="6721" y="1306"/>
                    <a:pt x="6754" y="1293"/>
                    <a:pt x="6780" y="1280"/>
                  </a:cubicBezTo>
                  <a:cubicBezTo>
                    <a:pt x="6826" y="1267"/>
                    <a:pt x="6853" y="1240"/>
                    <a:pt x="6899" y="1220"/>
                  </a:cubicBezTo>
                  <a:cubicBezTo>
                    <a:pt x="6978" y="1181"/>
                    <a:pt x="6998" y="1141"/>
                    <a:pt x="7077" y="1089"/>
                  </a:cubicBezTo>
                  <a:cubicBezTo>
                    <a:pt x="7097" y="1062"/>
                    <a:pt x="7117" y="1036"/>
                    <a:pt x="7156" y="1036"/>
                  </a:cubicBezTo>
                  <a:cubicBezTo>
                    <a:pt x="7189" y="1036"/>
                    <a:pt x="7209" y="1036"/>
                    <a:pt x="7242" y="1036"/>
                  </a:cubicBezTo>
                  <a:cubicBezTo>
                    <a:pt x="7288" y="1036"/>
                    <a:pt x="7315" y="1036"/>
                    <a:pt x="7361" y="1049"/>
                  </a:cubicBezTo>
                  <a:cubicBezTo>
                    <a:pt x="7334" y="442"/>
                    <a:pt x="7334" y="442"/>
                    <a:pt x="7334" y="442"/>
                  </a:cubicBezTo>
                  <a:cubicBezTo>
                    <a:pt x="7361" y="1049"/>
                    <a:pt x="7361" y="1049"/>
                    <a:pt x="7361" y="1049"/>
                  </a:cubicBezTo>
                  <a:cubicBezTo>
                    <a:pt x="7361" y="1089"/>
                    <a:pt x="7374" y="1115"/>
                    <a:pt x="7374" y="1155"/>
                  </a:cubicBezTo>
                  <a:cubicBezTo>
                    <a:pt x="7374" y="1201"/>
                    <a:pt x="7374" y="1227"/>
                    <a:pt x="7374" y="1273"/>
                  </a:cubicBezTo>
                  <a:cubicBezTo>
                    <a:pt x="7374" y="1306"/>
                    <a:pt x="7387" y="1319"/>
                    <a:pt x="7413" y="1346"/>
                  </a:cubicBezTo>
                  <a:cubicBezTo>
                    <a:pt x="7447" y="1379"/>
                    <a:pt x="7453" y="1412"/>
                    <a:pt x="7493" y="1438"/>
                  </a:cubicBezTo>
                  <a:cubicBezTo>
                    <a:pt x="7506" y="1458"/>
                    <a:pt x="7519" y="1458"/>
                    <a:pt x="7532" y="1478"/>
                  </a:cubicBezTo>
                  <a:cubicBezTo>
                    <a:pt x="7565" y="1517"/>
                    <a:pt x="7572" y="1557"/>
                    <a:pt x="7618" y="1570"/>
                  </a:cubicBezTo>
                  <a:cubicBezTo>
                    <a:pt x="7658" y="1577"/>
                    <a:pt x="7697" y="1583"/>
                    <a:pt x="7704" y="1616"/>
                  </a:cubicBezTo>
                  <a:cubicBezTo>
                    <a:pt x="7704" y="1649"/>
                    <a:pt x="7710" y="1662"/>
                    <a:pt x="7717" y="1689"/>
                  </a:cubicBezTo>
                  <a:cubicBezTo>
                    <a:pt x="7724" y="1715"/>
                    <a:pt x="7717" y="1735"/>
                    <a:pt x="7730" y="1761"/>
                  </a:cubicBezTo>
                  <a:cubicBezTo>
                    <a:pt x="7756" y="1788"/>
                    <a:pt x="7783" y="1794"/>
                    <a:pt x="7809" y="1814"/>
                  </a:cubicBezTo>
                  <a:cubicBezTo>
                    <a:pt x="7855" y="1854"/>
                    <a:pt x="7895" y="1860"/>
                    <a:pt x="7941" y="1900"/>
                  </a:cubicBezTo>
                  <a:cubicBezTo>
                    <a:pt x="7974" y="1920"/>
                    <a:pt x="7981" y="1959"/>
                    <a:pt x="8027" y="1959"/>
                  </a:cubicBezTo>
                  <a:cubicBezTo>
                    <a:pt x="8053" y="1959"/>
                    <a:pt x="8066" y="1953"/>
                    <a:pt x="8093" y="1953"/>
                  </a:cubicBezTo>
                  <a:cubicBezTo>
                    <a:pt x="8139" y="1953"/>
                    <a:pt x="8159" y="1959"/>
                    <a:pt x="8205" y="1959"/>
                  </a:cubicBezTo>
                  <a:cubicBezTo>
                    <a:pt x="8251" y="1966"/>
                    <a:pt x="8278" y="1946"/>
                    <a:pt x="8324" y="1959"/>
                  </a:cubicBezTo>
                  <a:cubicBezTo>
                    <a:pt x="8370" y="1979"/>
                    <a:pt x="8383" y="2012"/>
                    <a:pt x="8429" y="2038"/>
                  </a:cubicBezTo>
                  <a:cubicBezTo>
                    <a:pt x="8462" y="2071"/>
                    <a:pt x="8495" y="2071"/>
                    <a:pt x="8541" y="2091"/>
                  </a:cubicBezTo>
                  <a:cubicBezTo>
                    <a:pt x="8581" y="2104"/>
                    <a:pt x="8581" y="2137"/>
                    <a:pt x="8621" y="2157"/>
                  </a:cubicBezTo>
                  <a:cubicBezTo>
                    <a:pt x="8653" y="2177"/>
                    <a:pt x="8673" y="2164"/>
                    <a:pt x="8713" y="2164"/>
                  </a:cubicBezTo>
                  <a:cubicBezTo>
                    <a:pt x="8766" y="2177"/>
                    <a:pt x="8799" y="2190"/>
                    <a:pt x="8851" y="2210"/>
                  </a:cubicBezTo>
                  <a:cubicBezTo>
                    <a:pt x="8291" y="4446"/>
                    <a:pt x="8291" y="4446"/>
                    <a:pt x="8291" y="4446"/>
                  </a:cubicBezTo>
                  <a:cubicBezTo>
                    <a:pt x="8284" y="4446"/>
                    <a:pt x="8278" y="4439"/>
                    <a:pt x="8264" y="4439"/>
                  </a:cubicBezTo>
                  <a:cubicBezTo>
                    <a:pt x="8231" y="4439"/>
                    <a:pt x="8238" y="4479"/>
                    <a:pt x="8218" y="4505"/>
                  </a:cubicBezTo>
                  <a:cubicBezTo>
                    <a:pt x="8212" y="4518"/>
                    <a:pt x="8198" y="4518"/>
                    <a:pt x="8185" y="4525"/>
                  </a:cubicBezTo>
                  <a:cubicBezTo>
                    <a:pt x="8159" y="4551"/>
                    <a:pt x="8119" y="4564"/>
                    <a:pt x="8119" y="4611"/>
                  </a:cubicBezTo>
                  <a:cubicBezTo>
                    <a:pt x="8119" y="4650"/>
                    <a:pt x="8119" y="4677"/>
                    <a:pt x="8119" y="4716"/>
                  </a:cubicBezTo>
                  <a:cubicBezTo>
                    <a:pt x="8119" y="4749"/>
                    <a:pt x="8146" y="4756"/>
                    <a:pt x="8146" y="4782"/>
                  </a:cubicBezTo>
                  <a:cubicBezTo>
                    <a:pt x="8146" y="4802"/>
                    <a:pt x="8133" y="4815"/>
                    <a:pt x="8133" y="4835"/>
                  </a:cubicBezTo>
                  <a:cubicBezTo>
                    <a:pt x="8133" y="4861"/>
                    <a:pt x="8139" y="4875"/>
                    <a:pt x="8139" y="490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" name="Freeform 36"/>
            <p:cNvSpPr>
              <a:spLocks noChangeArrowheads="1"/>
            </p:cNvSpPr>
            <p:nvPr/>
          </p:nvSpPr>
          <p:spPr bwMode="auto">
            <a:xfrm>
              <a:off x="7015500" y="6634157"/>
              <a:ext cx="1325476" cy="1314450"/>
            </a:xfrm>
            <a:custGeom>
              <a:avLst/>
              <a:gdLst>
                <a:gd name="T0" fmla="*/ 2915 w 3681"/>
                <a:gd name="T1" fmla="*/ 2215 h 3653"/>
                <a:gd name="T2" fmla="*/ 2915 w 3681"/>
                <a:gd name="T3" fmla="*/ 2492 h 3653"/>
                <a:gd name="T4" fmla="*/ 2875 w 3681"/>
                <a:gd name="T5" fmla="*/ 2762 h 3653"/>
                <a:gd name="T6" fmla="*/ 2823 w 3681"/>
                <a:gd name="T7" fmla="*/ 3138 h 3653"/>
                <a:gd name="T8" fmla="*/ 2480 w 3681"/>
                <a:gd name="T9" fmla="*/ 3217 h 3653"/>
                <a:gd name="T10" fmla="*/ 2163 w 3681"/>
                <a:gd name="T11" fmla="*/ 3217 h 3653"/>
                <a:gd name="T12" fmla="*/ 1952 w 3681"/>
                <a:gd name="T13" fmla="*/ 3197 h 3653"/>
                <a:gd name="T14" fmla="*/ 1767 w 3681"/>
                <a:gd name="T15" fmla="*/ 3224 h 3653"/>
                <a:gd name="T16" fmla="*/ 1398 w 3681"/>
                <a:gd name="T17" fmla="*/ 3329 h 3653"/>
                <a:gd name="T18" fmla="*/ 1279 w 3681"/>
                <a:gd name="T19" fmla="*/ 3441 h 3653"/>
                <a:gd name="T20" fmla="*/ 1147 w 3681"/>
                <a:gd name="T21" fmla="*/ 3547 h 3653"/>
                <a:gd name="T22" fmla="*/ 1022 w 3681"/>
                <a:gd name="T23" fmla="*/ 3613 h 3653"/>
                <a:gd name="T24" fmla="*/ 554 w 3681"/>
                <a:gd name="T25" fmla="*/ 3303 h 3653"/>
                <a:gd name="T26" fmla="*/ 125 w 3681"/>
                <a:gd name="T27" fmla="*/ 2960 h 3653"/>
                <a:gd name="T28" fmla="*/ 52 w 3681"/>
                <a:gd name="T29" fmla="*/ 2802 h 3653"/>
                <a:gd name="T30" fmla="*/ 26 w 3681"/>
                <a:gd name="T31" fmla="*/ 2518 h 3653"/>
                <a:gd name="T32" fmla="*/ 250 w 3681"/>
                <a:gd name="T33" fmla="*/ 2208 h 3653"/>
                <a:gd name="T34" fmla="*/ 343 w 3681"/>
                <a:gd name="T35" fmla="*/ 1931 h 3653"/>
                <a:gd name="T36" fmla="*/ 514 w 3681"/>
                <a:gd name="T37" fmla="*/ 1799 h 3653"/>
                <a:gd name="T38" fmla="*/ 811 w 3681"/>
                <a:gd name="T39" fmla="*/ 1628 h 3653"/>
                <a:gd name="T40" fmla="*/ 956 w 3681"/>
                <a:gd name="T41" fmla="*/ 1377 h 3653"/>
                <a:gd name="T42" fmla="*/ 1200 w 3681"/>
                <a:gd name="T43" fmla="*/ 1159 h 3653"/>
                <a:gd name="T44" fmla="*/ 1273 w 3681"/>
                <a:gd name="T45" fmla="*/ 765 h 3653"/>
                <a:gd name="T46" fmla="*/ 1411 w 3681"/>
                <a:gd name="T47" fmla="*/ 408 h 3653"/>
                <a:gd name="T48" fmla="*/ 1616 w 3681"/>
                <a:gd name="T49" fmla="*/ 0 h 3653"/>
                <a:gd name="T50" fmla="*/ 1741 w 3681"/>
                <a:gd name="T51" fmla="*/ 362 h 3653"/>
                <a:gd name="T52" fmla="*/ 2242 w 3681"/>
                <a:gd name="T53" fmla="*/ 349 h 3653"/>
                <a:gd name="T54" fmla="*/ 2288 w 3681"/>
                <a:gd name="T55" fmla="*/ 514 h 3653"/>
                <a:gd name="T56" fmla="*/ 2500 w 3681"/>
                <a:gd name="T57" fmla="*/ 468 h 3653"/>
                <a:gd name="T58" fmla="*/ 2796 w 3681"/>
                <a:gd name="T59" fmla="*/ 666 h 3653"/>
                <a:gd name="T60" fmla="*/ 3014 w 3681"/>
                <a:gd name="T61" fmla="*/ 639 h 3653"/>
                <a:gd name="T62" fmla="*/ 3364 w 3681"/>
                <a:gd name="T63" fmla="*/ 547 h 3653"/>
                <a:gd name="T64" fmla="*/ 3680 w 3681"/>
                <a:gd name="T65" fmla="*/ 428 h 3653"/>
                <a:gd name="T66" fmla="*/ 3641 w 3681"/>
                <a:gd name="T67" fmla="*/ 613 h 3653"/>
                <a:gd name="T68" fmla="*/ 3641 w 3681"/>
                <a:gd name="T69" fmla="*/ 1186 h 3653"/>
                <a:gd name="T70" fmla="*/ 3383 w 3681"/>
                <a:gd name="T71" fmla="*/ 1436 h 3653"/>
                <a:gd name="T72" fmla="*/ 3133 w 3681"/>
                <a:gd name="T73" fmla="*/ 1726 h 3653"/>
                <a:gd name="T74" fmla="*/ 3007 w 3681"/>
                <a:gd name="T75" fmla="*/ 2023 h 3653"/>
                <a:gd name="T76" fmla="*/ 2994 w 3681"/>
                <a:gd name="T77" fmla="*/ 1832 h 3653"/>
                <a:gd name="T78" fmla="*/ 2928 w 3681"/>
                <a:gd name="T79" fmla="*/ 1601 h 3653"/>
                <a:gd name="T80" fmla="*/ 2308 w 3681"/>
                <a:gd name="T81" fmla="*/ 1542 h 3653"/>
                <a:gd name="T82" fmla="*/ 2183 w 3681"/>
                <a:gd name="T83" fmla="*/ 1740 h 3653"/>
                <a:gd name="T84" fmla="*/ 2170 w 3681"/>
                <a:gd name="T85" fmla="*/ 1997 h 3653"/>
                <a:gd name="T86" fmla="*/ 2704 w 3681"/>
                <a:gd name="T87" fmla="*/ 2136 h 3653"/>
                <a:gd name="T88" fmla="*/ 3007 w 3681"/>
                <a:gd name="T89" fmla="*/ 2023 h 3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81" h="3653">
                  <a:moveTo>
                    <a:pt x="3007" y="2023"/>
                  </a:moveTo>
                  <a:lnTo>
                    <a:pt x="3007" y="2023"/>
                  </a:lnTo>
                  <a:cubicBezTo>
                    <a:pt x="3001" y="2103"/>
                    <a:pt x="2915" y="2136"/>
                    <a:pt x="2915" y="2215"/>
                  </a:cubicBezTo>
                  <a:cubicBezTo>
                    <a:pt x="2915" y="2267"/>
                    <a:pt x="2961" y="2294"/>
                    <a:pt x="2961" y="2347"/>
                  </a:cubicBezTo>
                  <a:cubicBezTo>
                    <a:pt x="2961" y="2373"/>
                    <a:pt x="2961" y="2393"/>
                    <a:pt x="2961" y="2419"/>
                  </a:cubicBezTo>
                  <a:cubicBezTo>
                    <a:pt x="2961" y="2452"/>
                    <a:pt x="2928" y="2465"/>
                    <a:pt x="2915" y="2492"/>
                  </a:cubicBezTo>
                  <a:cubicBezTo>
                    <a:pt x="2895" y="2544"/>
                    <a:pt x="2882" y="2571"/>
                    <a:pt x="2862" y="2623"/>
                  </a:cubicBezTo>
                  <a:cubicBezTo>
                    <a:pt x="2849" y="2650"/>
                    <a:pt x="2836" y="2657"/>
                    <a:pt x="2836" y="2690"/>
                  </a:cubicBezTo>
                  <a:cubicBezTo>
                    <a:pt x="2836" y="2722"/>
                    <a:pt x="2856" y="2729"/>
                    <a:pt x="2875" y="2762"/>
                  </a:cubicBezTo>
                  <a:cubicBezTo>
                    <a:pt x="2882" y="2782"/>
                    <a:pt x="2908" y="2795"/>
                    <a:pt x="2908" y="2821"/>
                  </a:cubicBezTo>
                  <a:cubicBezTo>
                    <a:pt x="2908" y="2901"/>
                    <a:pt x="2823" y="2927"/>
                    <a:pt x="2823" y="3006"/>
                  </a:cubicBezTo>
                  <a:cubicBezTo>
                    <a:pt x="2823" y="3059"/>
                    <a:pt x="2823" y="3085"/>
                    <a:pt x="2823" y="3138"/>
                  </a:cubicBezTo>
                  <a:cubicBezTo>
                    <a:pt x="2737" y="3138"/>
                    <a:pt x="2697" y="3171"/>
                    <a:pt x="2625" y="3211"/>
                  </a:cubicBezTo>
                  <a:cubicBezTo>
                    <a:pt x="2592" y="3224"/>
                    <a:pt x="2579" y="3250"/>
                    <a:pt x="2546" y="3250"/>
                  </a:cubicBezTo>
                  <a:cubicBezTo>
                    <a:pt x="2519" y="3250"/>
                    <a:pt x="2506" y="3224"/>
                    <a:pt x="2480" y="3217"/>
                  </a:cubicBezTo>
                  <a:cubicBezTo>
                    <a:pt x="2433" y="3211"/>
                    <a:pt x="2401" y="3211"/>
                    <a:pt x="2348" y="3211"/>
                  </a:cubicBezTo>
                  <a:cubicBezTo>
                    <a:pt x="2308" y="3211"/>
                    <a:pt x="2282" y="3217"/>
                    <a:pt x="2242" y="3217"/>
                  </a:cubicBezTo>
                  <a:cubicBezTo>
                    <a:pt x="2209" y="3217"/>
                    <a:pt x="2189" y="3217"/>
                    <a:pt x="2163" y="3217"/>
                  </a:cubicBezTo>
                  <a:cubicBezTo>
                    <a:pt x="2130" y="3217"/>
                    <a:pt x="2110" y="3217"/>
                    <a:pt x="2084" y="3204"/>
                  </a:cubicBezTo>
                  <a:cubicBezTo>
                    <a:pt x="2058" y="3191"/>
                    <a:pt x="2051" y="3158"/>
                    <a:pt x="2018" y="3158"/>
                  </a:cubicBezTo>
                  <a:cubicBezTo>
                    <a:pt x="1992" y="3158"/>
                    <a:pt x="1978" y="3184"/>
                    <a:pt x="1952" y="3197"/>
                  </a:cubicBezTo>
                  <a:cubicBezTo>
                    <a:pt x="1926" y="3211"/>
                    <a:pt x="1906" y="3217"/>
                    <a:pt x="1873" y="3230"/>
                  </a:cubicBezTo>
                  <a:cubicBezTo>
                    <a:pt x="1847" y="3250"/>
                    <a:pt x="1840" y="3277"/>
                    <a:pt x="1814" y="3296"/>
                  </a:cubicBezTo>
                  <a:cubicBezTo>
                    <a:pt x="1807" y="3263"/>
                    <a:pt x="1800" y="3224"/>
                    <a:pt x="1767" y="3224"/>
                  </a:cubicBezTo>
                  <a:cubicBezTo>
                    <a:pt x="1748" y="3224"/>
                    <a:pt x="1741" y="3250"/>
                    <a:pt x="1721" y="3257"/>
                  </a:cubicBezTo>
                  <a:cubicBezTo>
                    <a:pt x="1655" y="3277"/>
                    <a:pt x="1609" y="3290"/>
                    <a:pt x="1543" y="3316"/>
                  </a:cubicBezTo>
                  <a:cubicBezTo>
                    <a:pt x="1490" y="3316"/>
                    <a:pt x="1457" y="3323"/>
                    <a:pt x="1398" y="3329"/>
                  </a:cubicBezTo>
                  <a:cubicBezTo>
                    <a:pt x="1378" y="3336"/>
                    <a:pt x="1359" y="3336"/>
                    <a:pt x="1339" y="3349"/>
                  </a:cubicBezTo>
                  <a:cubicBezTo>
                    <a:pt x="1325" y="3356"/>
                    <a:pt x="1325" y="3369"/>
                    <a:pt x="1312" y="3389"/>
                  </a:cubicBezTo>
                  <a:cubicBezTo>
                    <a:pt x="1306" y="3408"/>
                    <a:pt x="1292" y="3422"/>
                    <a:pt x="1279" y="3441"/>
                  </a:cubicBezTo>
                  <a:cubicBezTo>
                    <a:pt x="1266" y="3474"/>
                    <a:pt x="1253" y="3488"/>
                    <a:pt x="1227" y="3507"/>
                  </a:cubicBezTo>
                  <a:cubicBezTo>
                    <a:pt x="1207" y="3514"/>
                    <a:pt x="1207" y="3534"/>
                    <a:pt x="1187" y="3540"/>
                  </a:cubicBezTo>
                  <a:cubicBezTo>
                    <a:pt x="1167" y="3547"/>
                    <a:pt x="1154" y="3540"/>
                    <a:pt x="1147" y="3547"/>
                  </a:cubicBezTo>
                  <a:cubicBezTo>
                    <a:pt x="1108" y="3573"/>
                    <a:pt x="1101" y="3606"/>
                    <a:pt x="1095" y="3652"/>
                  </a:cubicBezTo>
                  <a:lnTo>
                    <a:pt x="1095" y="3652"/>
                  </a:lnTo>
                  <a:cubicBezTo>
                    <a:pt x="1068" y="3633"/>
                    <a:pt x="1048" y="3626"/>
                    <a:pt x="1022" y="3613"/>
                  </a:cubicBezTo>
                  <a:cubicBezTo>
                    <a:pt x="943" y="3580"/>
                    <a:pt x="884" y="3567"/>
                    <a:pt x="844" y="3494"/>
                  </a:cubicBezTo>
                  <a:cubicBezTo>
                    <a:pt x="811" y="3441"/>
                    <a:pt x="765" y="3435"/>
                    <a:pt x="712" y="3402"/>
                  </a:cubicBezTo>
                  <a:cubicBezTo>
                    <a:pt x="646" y="3369"/>
                    <a:pt x="620" y="3343"/>
                    <a:pt x="554" y="3303"/>
                  </a:cubicBezTo>
                  <a:cubicBezTo>
                    <a:pt x="461" y="3244"/>
                    <a:pt x="422" y="3197"/>
                    <a:pt x="336" y="3132"/>
                  </a:cubicBezTo>
                  <a:cubicBezTo>
                    <a:pt x="296" y="3105"/>
                    <a:pt x="270" y="3092"/>
                    <a:pt x="244" y="3059"/>
                  </a:cubicBezTo>
                  <a:cubicBezTo>
                    <a:pt x="204" y="3013"/>
                    <a:pt x="184" y="2980"/>
                    <a:pt x="125" y="2960"/>
                  </a:cubicBezTo>
                  <a:cubicBezTo>
                    <a:pt x="92" y="2947"/>
                    <a:pt x="66" y="2953"/>
                    <a:pt x="33" y="2947"/>
                  </a:cubicBezTo>
                  <a:cubicBezTo>
                    <a:pt x="33" y="2934"/>
                    <a:pt x="33" y="2927"/>
                    <a:pt x="33" y="2914"/>
                  </a:cubicBezTo>
                  <a:cubicBezTo>
                    <a:pt x="33" y="2874"/>
                    <a:pt x="52" y="2848"/>
                    <a:pt x="52" y="2802"/>
                  </a:cubicBezTo>
                  <a:cubicBezTo>
                    <a:pt x="59" y="2755"/>
                    <a:pt x="59" y="2709"/>
                    <a:pt x="66" y="2663"/>
                  </a:cubicBezTo>
                  <a:lnTo>
                    <a:pt x="66" y="2663"/>
                  </a:lnTo>
                  <a:cubicBezTo>
                    <a:pt x="59" y="2604"/>
                    <a:pt x="46" y="2564"/>
                    <a:pt x="26" y="2518"/>
                  </a:cubicBezTo>
                  <a:cubicBezTo>
                    <a:pt x="13" y="2498"/>
                    <a:pt x="0" y="2478"/>
                    <a:pt x="0" y="2459"/>
                  </a:cubicBezTo>
                  <a:cubicBezTo>
                    <a:pt x="0" y="2406"/>
                    <a:pt x="33" y="2386"/>
                    <a:pt x="59" y="2347"/>
                  </a:cubicBezTo>
                  <a:cubicBezTo>
                    <a:pt x="112" y="2274"/>
                    <a:pt x="178" y="2254"/>
                    <a:pt x="250" y="2208"/>
                  </a:cubicBezTo>
                  <a:cubicBezTo>
                    <a:pt x="283" y="2182"/>
                    <a:pt x="290" y="2155"/>
                    <a:pt x="303" y="2116"/>
                  </a:cubicBezTo>
                  <a:cubicBezTo>
                    <a:pt x="323" y="2069"/>
                    <a:pt x="343" y="2050"/>
                    <a:pt x="343" y="2004"/>
                  </a:cubicBezTo>
                  <a:cubicBezTo>
                    <a:pt x="343" y="1977"/>
                    <a:pt x="343" y="1957"/>
                    <a:pt x="343" y="1931"/>
                  </a:cubicBezTo>
                  <a:cubicBezTo>
                    <a:pt x="343" y="1898"/>
                    <a:pt x="382" y="1892"/>
                    <a:pt x="415" y="1885"/>
                  </a:cubicBezTo>
                  <a:cubicBezTo>
                    <a:pt x="435" y="1878"/>
                    <a:pt x="448" y="1865"/>
                    <a:pt x="468" y="1852"/>
                  </a:cubicBezTo>
                  <a:cubicBezTo>
                    <a:pt x="488" y="1839"/>
                    <a:pt x="488" y="1806"/>
                    <a:pt x="514" y="1799"/>
                  </a:cubicBezTo>
                  <a:cubicBezTo>
                    <a:pt x="547" y="1793"/>
                    <a:pt x="567" y="1793"/>
                    <a:pt x="600" y="1793"/>
                  </a:cubicBezTo>
                  <a:cubicBezTo>
                    <a:pt x="653" y="1793"/>
                    <a:pt x="699" y="1812"/>
                    <a:pt x="738" y="1786"/>
                  </a:cubicBezTo>
                  <a:cubicBezTo>
                    <a:pt x="791" y="1746"/>
                    <a:pt x="811" y="1694"/>
                    <a:pt x="811" y="1628"/>
                  </a:cubicBezTo>
                  <a:cubicBezTo>
                    <a:pt x="811" y="1608"/>
                    <a:pt x="798" y="1601"/>
                    <a:pt x="798" y="1581"/>
                  </a:cubicBezTo>
                  <a:cubicBezTo>
                    <a:pt x="798" y="1515"/>
                    <a:pt x="837" y="1482"/>
                    <a:pt x="884" y="1436"/>
                  </a:cubicBezTo>
                  <a:cubicBezTo>
                    <a:pt x="903" y="1410"/>
                    <a:pt x="917" y="1377"/>
                    <a:pt x="956" y="1377"/>
                  </a:cubicBezTo>
                  <a:cubicBezTo>
                    <a:pt x="982" y="1377"/>
                    <a:pt x="996" y="1390"/>
                    <a:pt x="1029" y="1390"/>
                  </a:cubicBezTo>
                  <a:cubicBezTo>
                    <a:pt x="1081" y="1390"/>
                    <a:pt x="1095" y="1338"/>
                    <a:pt x="1114" y="1291"/>
                  </a:cubicBezTo>
                  <a:cubicBezTo>
                    <a:pt x="1134" y="1232"/>
                    <a:pt x="1200" y="1225"/>
                    <a:pt x="1200" y="1159"/>
                  </a:cubicBezTo>
                  <a:cubicBezTo>
                    <a:pt x="1200" y="1126"/>
                    <a:pt x="1200" y="1107"/>
                    <a:pt x="1200" y="1067"/>
                  </a:cubicBezTo>
                  <a:cubicBezTo>
                    <a:pt x="1200" y="995"/>
                    <a:pt x="1246" y="961"/>
                    <a:pt x="1266" y="890"/>
                  </a:cubicBezTo>
                  <a:cubicBezTo>
                    <a:pt x="1273" y="844"/>
                    <a:pt x="1266" y="811"/>
                    <a:pt x="1273" y="765"/>
                  </a:cubicBezTo>
                  <a:cubicBezTo>
                    <a:pt x="1279" y="718"/>
                    <a:pt x="1312" y="699"/>
                    <a:pt x="1325" y="659"/>
                  </a:cubicBezTo>
                  <a:cubicBezTo>
                    <a:pt x="1345" y="613"/>
                    <a:pt x="1345" y="580"/>
                    <a:pt x="1372" y="534"/>
                  </a:cubicBezTo>
                  <a:cubicBezTo>
                    <a:pt x="1398" y="488"/>
                    <a:pt x="1398" y="455"/>
                    <a:pt x="1411" y="408"/>
                  </a:cubicBezTo>
                  <a:cubicBezTo>
                    <a:pt x="1438" y="343"/>
                    <a:pt x="1477" y="310"/>
                    <a:pt x="1497" y="244"/>
                  </a:cubicBezTo>
                  <a:cubicBezTo>
                    <a:pt x="1530" y="138"/>
                    <a:pt x="1536" y="72"/>
                    <a:pt x="1616" y="0"/>
                  </a:cubicBezTo>
                  <a:lnTo>
                    <a:pt x="1616" y="0"/>
                  </a:lnTo>
                  <a:cubicBezTo>
                    <a:pt x="1741" y="59"/>
                    <a:pt x="1741" y="59"/>
                    <a:pt x="1741" y="59"/>
                  </a:cubicBezTo>
                  <a:cubicBezTo>
                    <a:pt x="1728" y="145"/>
                    <a:pt x="1642" y="171"/>
                    <a:pt x="1642" y="263"/>
                  </a:cubicBezTo>
                  <a:cubicBezTo>
                    <a:pt x="1642" y="316"/>
                    <a:pt x="1695" y="343"/>
                    <a:pt x="1741" y="362"/>
                  </a:cubicBezTo>
                  <a:cubicBezTo>
                    <a:pt x="1814" y="389"/>
                    <a:pt x="1853" y="408"/>
                    <a:pt x="1926" y="408"/>
                  </a:cubicBezTo>
                  <a:cubicBezTo>
                    <a:pt x="2038" y="408"/>
                    <a:pt x="2018" y="211"/>
                    <a:pt x="2130" y="211"/>
                  </a:cubicBezTo>
                  <a:cubicBezTo>
                    <a:pt x="2203" y="211"/>
                    <a:pt x="2242" y="283"/>
                    <a:pt x="2242" y="349"/>
                  </a:cubicBezTo>
                  <a:cubicBezTo>
                    <a:pt x="2242" y="408"/>
                    <a:pt x="2216" y="435"/>
                    <a:pt x="2216" y="494"/>
                  </a:cubicBezTo>
                  <a:cubicBezTo>
                    <a:pt x="2216" y="521"/>
                    <a:pt x="2222" y="560"/>
                    <a:pt x="2256" y="560"/>
                  </a:cubicBezTo>
                  <a:cubicBezTo>
                    <a:pt x="2275" y="560"/>
                    <a:pt x="2282" y="534"/>
                    <a:pt x="2288" y="514"/>
                  </a:cubicBezTo>
                  <a:cubicBezTo>
                    <a:pt x="2302" y="488"/>
                    <a:pt x="2315" y="474"/>
                    <a:pt x="2321" y="448"/>
                  </a:cubicBezTo>
                  <a:cubicBezTo>
                    <a:pt x="2368" y="461"/>
                    <a:pt x="2387" y="507"/>
                    <a:pt x="2433" y="507"/>
                  </a:cubicBezTo>
                  <a:cubicBezTo>
                    <a:pt x="2467" y="507"/>
                    <a:pt x="2467" y="468"/>
                    <a:pt x="2500" y="468"/>
                  </a:cubicBezTo>
                  <a:cubicBezTo>
                    <a:pt x="2532" y="468"/>
                    <a:pt x="2546" y="494"/>
                    <a:pt x="2572" y="521"/>
                  </a:cubicBezTo>
                  <a:cubicBezTo>
                    <a:pt x="2618" y="567"/>
                    <a:pt x="2658" y="580"/>
                    <a:pt x="2711" y="619"/>
                  </a:cubicBezTo>
                  <a:cubicBezTo>
                    <a:pt x="2737" y="646"/>
                    <a:pt x="2757" y="666"/>
                    <a:pt x="2796" y="666"/>
                  </a:cubicBezTo>
                  <a:cubicBezTo>
                    <a:pt x="2816" y="666"/>
                    <a:pt x="2816" y="646"/>
                    <a:pt x="2823" y="626"/>
                  </a:cubicBezTo>
                  <a:cubicBezTo>
                    <a:pt x="2843" y="600"/>
                    <a:pt x="2862" y="573"/>
                    <a:pt x="2895" y="573"/>
                  </a:cubicBezTo>
                  <a:cubicBezTo>
                    <a:pt x="2948" y="573"/>
                    <a:pt x="2961" y="639"/>
                    <a:pt x="3014" y="639"/>
                  </a:cubicBezTo>
                  <a:cubicBezTo>
                    <a:pt x="3034" y="639"/>
                    <a:pt x="3047" y="639"/>
                    <a:pt x="3073" y="639"/>
                  </a:cubicBezTo>
                  <a:cubicBezTo>
                    <a:pt x="3133" y="639"/>
                    <a:pt x="3159" y="619"/>
                    <a:pt x="3212" y="600"/>
                  </a:cubicBezTo>
                  <a:cubicBezTo>
                    <a:pt x="3271" y="580"/>
                    <a:pt x="3317" y="586"/>
                    <a:pt x="3364" y="547"/>
                  </a:cubicBezTo>
                  <a:cubicBezTo>
                    <a:pt x="3397" y="521"/>
                    <a:pt x="3383" y="481"/>
                    <a:pt x="3410" y="461"/>
                  </a:cubicBezTo>
                  <a:cubicBezTo>
                    <a:pt x="3443" y="428"/>
                    <a:pt x="3476" y="441"/>
                    <a:pt x="3522" y="435"/>
                  </a:cubicBezTo>
                  <a:cubicBezTo>
                    <a:pt x="3680" y="428"/>
                    <a:pt x="3680" y="428"/>
                    <a:pt x="3680" y="428"/>
                  </a:cubicBezTo>
                  <a:lnTo>
                    <a:pt x="3680" y="428"/>
                  </a:lnTo>
                  <a:cubicBezTo>
                    <a:pt x="3680" y="468"/>
                    <a:pt x="3641" y="488"/>
                    <a:pt x="3641" y="527"/>
                  </a:cubicBezTo>
                  <a:cubicBezTo>
                    <a:pt x="3641" y="560"/>
                    <a:pt x="3641" y="580"/>
                    <a:pt x="3641" y="613"/>
                  </a:cubicBezTo>
                  <a:cubicBezTo>
                    <a:pt x="3641" y="685"/>
                    <a:pt x="3575" y="718"/>
                    <a:pt x="3575" y="791"/>
                  </a:cubicBezTo>
                  <a:cubicBezTo>
                    <a:pt x="3575" y="850"/>
                    <a:pt x="3575" y="883"/>
                    <a:pt x="3575" y="942"/>
                  </a:cubicBezTo>
                  <a:cubicBezTo>
                    <a:pt x="3575" y="1041"/>
                    <a:pt x="3641" y="1087"/>
                    <a:pt x="3641" y="1186"/>
                  </a:cubicBezTo>
                  <a:cubicBezTo>
                    <a:pt x="3641" y="1298"/>
                    <a:pt x="3608" y="1357"/>
                    <a:pt x="3568" y="1463"/>
                  </a:cubicBezTo>
                  <a:lnTo>
                    <a:pt x="3568" y="1463"/>
                  </a:lnTo>
                  <a:cubicBezTo>
                    <a:pt x="3496" y="1463"/>
                    <a:pt x="3456" y="1436"/>
                    <a:pt x="3383" y="1436"/>
                  </a:cubicBezTo>
                  <a:cubicBezTo>
                    <a:pt x="3311" y="1436"/>
                    <a:pt x="3271" y="1482"/>
                    <a:pt x="3238" y="1542"/>
                  </a:cubicBezTo>
                  <a:cubicBezTo>
                    <a:pt x="3205" y="1601"/>
                    <a:pt x="3172" y="1634"/>
                    <a:pt x="3153" y="1700"/>
                  </a:cubicBezTo>
                  <a:cubicBezTo>
                    <a:pt x="3153" y="1713"/>
                    <a:pt x="3139" y="1713"/>
                    <a:pt x="3133" y="1726"/>
                  </a:cubicBezTo>
                  <a:cubicBezTo>
                    <a:pt x="3106" y="1799"/>
                    <a:pt x="3113" y="1852"/>
                    <a:pt x="3080" y="1924"/>
                  </a:cubicBezTo>
                  <a:cubicBezTo>
                    <a:pt x="3067" y="1944"/>
                    <a:pt x="3054" y="1957"/>
                    <a:pt x="3040" y="1977"/>
                  </a:cubicBezTo>
                  <a:cubicBezTo>
                    <a:pt x="3027" y="1997"/>
                    <a:pt x="3027" y="2017"/>
                    <a:pt x="3007" y="2023"/>
                  </a:cubicBezTo>
                  <a:lnTo>
                    <a:pt x="3007" y="2023"/>
                  </a:lnTo>
                  <a:cubicBezTo>
                    <a:pt x="2968" y="1990"/>
                    <a:pt x="2974" y="1951"/>
                    <a:pt x="2974" y="1905"/>
                  </a:cubicBezTo>
                  <a:cubicBezTo>
                    <a:pt x="2974" y="1872"/>
                    <a:pt x="2994" y="1858"/>
                    <a:pt x="2994" y="1832"/>
                  </a:cubicBezTo>
                  <a:cubicBezTo>
                    <a:pt x="3007" y="1779"/>
                    <a:pt x="3014" y="1746"/>
                    <a:pt x="3014" y="1687"/>
                  </a:cubicBezTo>
                  <a:cubicBezTo>
                    <a:pt x="3014" y="1661"/>
                    <a:pt x="3014" y="1641"/>
                    <a:pt x="2994" y="1628"/>
                  </a:cubicBezTo>
                  <a:cubicBezTo>
                    <a:pt x="2974" y="1608"/>
                    <a:pt x="2955" y="1614"/>
                    <a:pt x="2928" y="1601"/>
                  </a:cubicBezTo>
                  <a:cubicBezTo>
                    <a:pt x="2862" y="1575"/>
                    <a:pt x="2816" y="1562"/>
                    <a:pt x="2750" y="1562"/>
                  </a:cubicBezTo>
                  <a:cubicBezTo>
                    <a:pt x="2671" y="1562"/>
                    <a:pt x="2631" y="1562"/>
                    <a:pt x="2552" y="1562"/>
                  </a:cubicBezTo>
                  <a:cubicBezTo>
                    <a:pt x="2453" y="1562"/>
                    <a:pt x="2401" y="1542"/>
                    <a:pt x="2308" y="1542"/>
                  </a:cubicBezTo>
                  <a:cubicBezTo>
                    <a:pt x="2275" y="1542"/>
                    <a:pt x="2256" y="1529"/>
                    <a:pt x="2229" y="1542"/>
                  </a:cubicBezTo>
                  <a:cubicBezTo>
                    <a:pt x="2203" y="1555"/>
                    <a:pt x="2209" y="1581"/>
                    <a:pt x="2203" y="1608"/>
                  </a:cubicBezTo>
                  <a:cubicBezTo>
                    <a:pt x="2189" y="1661"/>
                    <a:pt x="2183" y="1687"/>
                    <a:pt x="2183" y="1740"/>
                  </a:cubicBezTo>
                  <a:cubicBezTo>
                    <a:pt x="2183" y="1773"/>
                    <a:pt x="2183" y="1786"/>
                    <a:pt x="2183" y="1812"/>
                  </a:cubicBezTo>
                  <a:cubicBezTo>
                    <a:pt x="2183" y="1825"/>
                    <a:pt x="2170" y="1832"/>
                    <a:pt x="2170" y="1845"/>
                  </a:cubicBezTo>
                  <a:cubicBezTo>
                    <a:pt x="2170" y="1905"/>
                    <a:pt x="2170" y="1938"/>
                    <a:pt x="2170" y="1997"/>
                  </a:cubicBezTo>
                  <a:cubicBezTo>
                    <a:pt x="2170" y="2043"/>
                    <a:pt x="2222" y="2056"/>
                    <a:pt x="2269" y="2063"/>
                  </a:cubicBezTo>
                  <a:cubicBezTo>
                    <a:pt x="2328" y="2069"/>
                    <a:pt x="2361" y="2083"/>
                    <a:pt x="2420" y="2089"/>
                  </a:cubicBezTo>
                  <a:cubicBezTo>
                    <a:pt x="2526" y="2103"/>
                    <a:pt x="2592" y="2136"/>
                    <a:pt x="2704" y="2136"/>
                  </a:cubicBezTo>
                  <a:cubicBezTo>
                    <a:pt x="2750" y="2136"/>
                    <a:pt x="2776" y="2129"/>
                    <a:pt x="2829" y="2122"/>
                  </a:cubicBezTo>
                  <a:cubicBezTo>
                    <a:pt x="2869" y="2122"/>
                    <a:pt x="2908" y="2116"/>
                    <a:pt x="2935" y="2083"/>
                  </a:cubicBezTo>
                  <a:cubicBezTo>
                    <a:pt x="2961" y="2063"/>
                    <a:pt x="2988" y="2050"/>
                    <a:pt x="3007" y="202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" name="Freeform 37"/>
            <p:cNvSpPr>
              <a:spLocks noChangeArrowheads="1"/>
            </p:cNvSpPr>
            <p:nvPr/>
          </p:nvSpPr>
          <p:spPr bwMode="auto">
            <a:xfrm>
              <a:off x="7796500" y="7185020"/>
              <a:ext cx="304780" cy="219075"/>
            </a:xfrm>
            <a:custGeom>
              <a:avLst/>
              <a:gdLst>
                <a:gd name="T0" fmla="*/ 837 w 845"/>
                <a:gd name="T1" fmla="*/ 494 h 608"/>
                <a:gd name="T2" fmla="*/ 837 w 845"/>
                <a:gd name="T3" fmla="*/ 494 h 608"/>
                <a:gd name="T4" fmla="*/ 804 w 845"/>
                <a:gd name="T5" fmla="*/ 376 h 608"/>
                <a:gd name="T6" fmla="*/ 824 w 845"/>
                <a:gd name="T7" fmla="*/ 303 h 608"/>
                <a:gd name="T8" fmla="*/ 844 w 845"/>
                <a:gd name="T9" fmla="*/ 158 h 608"/>
                <a:gd name="T10" fmla="*/ 824 w 845"/>
                <a:gd name="T11" fmla="*/ 99 h 608"/>
                <a:gd name="T12" fmla="*/ 758 w 845"/>
                <a:gd name="T13" fmla="*/ 72 h 608"/>
                <a:gd name="T14" fmla="*/ 580 w 845"/>
                <a:gd name="T15" fmla="*/ 33 h 608"/>
                <a:gd name="T16" fmla="*/ 382 w 845"/>
                <a:gd name="T17" fmla="*/ 33 h 608"/>
                <a:gd name="T18" fmla="*/ 138 w 845"/>
                <a:gd name="T19" fmla="*/ 13 h 608"/>
                <a:gd name="T20" fmla="*/ 59 w 845"/>
                <a:gd name="T21" fmla="*/ 13 h 608"/>
                <a:gd name="T22" fmla="*/ 33 w 845"/>
                <a:gd name="T23" fmla="*/ 79 h 608"/>
                <a:gd name="T24" fmla="*/ 13 w 845"/>
                <a:gd name="T25" fmla="*/ 211 h 608"/>
                <a:gd name="T26" fmla="*/ 13 w 845"/>
                <a:gd name="T27" fmla="*/ 283 h 608"/>
                <a:gd name="T28" fmla="*/ 0 w 845"/>
                <a:gd name="T29" fmla="*/ 316 h 608"/>
                <a:gd name="T30" fmla="*/ 0 w 845"/>
                <a:gd name="T31" fmla="*/ 468 h 608"/>
                <a:gd name="T32" fmla="*/ 99 w 845"/>
                <a:gd name="T33" fmla="*/ 534 h 608"/>
                <a:gd name="T34" fmla="*/ 250 w 845"/>
                <a:gd name="T35" fmla="*/ 560 h 608"/>
                <a:gd name="T36" fmla="*/ 534 w 845"/>
                <a:gd name="T37" fmla="*/ 607 h 608"/>
                <a:gd name="T38" fmla="*/ 659 w 845"/>
                <a:gd name="T39" fmla="*/ 593 h 608"/>
                <a:gd name="T40" fmla="*/ 765 w 845"/>
                <a:gd name="T41" fmla="*/ 554 h 608"/>
                <a:gd name="T42" fmla="*/ 837 w 845"/>
                <a:gd name="T43" fmla="*/ 494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45" h="608">
                  <a:moveTo>
                    <a:pt x="837" y="494"/>
                  </a:moveTo>
                  <a:lnTo>
                    <a:pt x="837" y="494"/>
                  </a:lnTo>
                  <a:cubicBezTo>
                    <a:pt x="798" y="461"/>
                    <a:pt x="804" y="422"/>
                    <a:pt x="804" y="376"/>
                  </a:cubicBezTo>
                  <a:cubicBezTo>
                    <a:pt x="804" y="343"/>
                    <a:pt x="824" y="329"/>
                    <a:pt x="824" y="303"/>
                  </a:cubicBezTo>
                  <a:cubicBezTo>
                    <a:pt x="837" y="250"/>
                    <a:pt x="844" y="217"/>
                    <a:pt x="844" y="158"/>
                  </a:cubicBezTo>
                  <a:cubicBezTo>
                    <a:pt x="844" y="132"/>
                    <a:pt x="844" y="112"/>
                    <a:pt x="824" y="99"/>
                  </a:cubicBezTo>
                  <a:cubicBezTo>
                    <a:pt x="804" y="79"/>
                    <a:pt x="785" y="85"/>
                    <a:pt x="758" y="72"/>
                  </a:cubicBezTo>
                  <a:cubicBezTo>
                    <a:pt x="692" y="46"/>
                    <a:pt x="646" y="33"/>
                    <a:pt x="580" y="33"/>
                  </a:cubicBezTo>
                  <a:cubicBezTo>
                    <a:pt x="501" y="33"/>
                    <a:pt x="461" y="33"/>
                    <a:pt x="382" y="33"/>
                  </a:cubicBezTo>
                  <a:cubicBezTo>
                    <a:pt x="283" y="33"/>
                    <a:pt x="231" y="13"/>
                    <a:pt x="138" y="13"/>
                  </a:cubicBezTo>
                  <a:cubicBezTo>
                    <a:pt x="105" y="13"/>
                    <a:pt x="86" y="0"/>
                    <a:pt x="59" y="13"/>
                  </a:cubicBezTo>
                  <a:cubicBezTo>
                    <a:pt x="33" y="26"/>
                    <a:pt x="39" y="52"/>
                    <a:pt x="33" y="79"/>
                  </a:cubicBezTo>
                  <a:cubicBezTo>
                    <a:pt x="19" y="132"/>
                    <a:pt x="13" y="158"/>
                    <a:pt x="13" y="211"/>
                  </a:cubicBezTo>
                  <a:cubicBezTo>
                    <a:pt x="13" y="244"/>
                    <a:pt x="13" y="257"/>
                    <a:pt x="13" y="283"/>
                  </a:cubicBezTo>
                  <a:cubicBezTo>
                    <a:pt x="13" y="296"/>
                    <a:pt x="0" y="303"/>
                    <a:pt x="0" y="316"/>
                  </a:cubicBezTo>
                  <a:cubicBezTo>
                    <a:pt x="0" y="376"/>
                    <a:pt x="0" y="409"/>
                    <a:pt x="0" y="468"/>
                  </a:cubicBezTo>
                  <a:cubicBezTo>
                    <a:pt x="0" y="514"/>
                    <a:pt x="52" y="527"/>
                    <a:pt x="99" y="534"/>
                  </a:cubicBezTo>
                  <a:cubicBezTo>
                    <a:pt x="158" y="540"/>
                    <a:pt x="191" y="554"/>
                    <a:pt x="250" y="560"/>
                  </a:cubicBezTo>
                  <a:cubicBezTo>
                    <a:pt x="356" y="574"/>
                    <a:pt x="422" y="607"/>
                    <a:pt x="534" y="607"/>
                  </a:cubicBezTo>
                  <a:cubicBezTo>
                    <a:pt x="580" y="607"/>
                    <a:pt x="606" y="600"/>
                    <a:pt x="659" y="593"/>
                  </a:cubicBezTo>
                  <a:cubicBezTo>
                    <a:pt x="699" y="593"/>
                    <a:pt x="738" y="587"/>
                    <a:pt x="765" y="554"/>
                  </a:cubicBezTo>
                  <a:cubicBezTo>
                    <a:pt x="791" y="534"/>
                    <a:pt x="818" y="521"/>
                    <a:pt x="837" y="49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2" name="Freeform 38"/>
            <p:cNvSpPr>
              <a:spLocks noChangeArrowheads="1"/>
            </p:cNvSpPr>
            <p:nvPr/>
          </p:nvSpPr>
          <p:spPr bwMode="auto">
            <a:xfrm>
              <a:off x="8348914" y="8348658"/>
              <a:ext cx="690517" cy="433387"/>
            </a:xfrm>
            <a:custGeom>
              <a:avLst/>
              <a:gdLst>
                <a:gd name="T0" fmla="*/ 1556 w 1920"/>
                <a:gd name="T1" fmla="*/ 0 h 1202"/>
                <a:gd name="T2" fmla="*/ 1556 w 1920"/>
                <a:gd name="T3" fmla="*/ 0 h 1202"/>
                <a:gd name="T4" fmla="*/ 1609 w 1920"/>
                <a:gd name="T5" fmla="*/ 152 h 1202"/>
                <a:gd name="T6" fmla="*/ 1820 w 1920"/>
                <a:gd name="T7" fmla="*/ 185 h 1202"/>
                <a:gd name="T8" fmla="*/ 1919 w 1920"/>
                <a:gd name="T9" fmla="*/ 297 h 1202"/>
                <a:gd name="T10" fmla="*/ 1919 w 1920"/>
                <a:gd name="T11" fmla="*/ 297 h 1202"/>
                <a:gd name="T12" fmla="*/ 1906 w 1920"/>
                <a:gd name="T13" fmla="*/ 330 h 1202"/>
                <a:gd name="T14" fmla="*/ 1866 w 1920"/>
                <a:gd name="T15" fmla="*/ 396 h 1202"/>
                <a:gd name="T16" fmla="*/ 1860 w 1920"/>
                <a:gd name="T17" fmla="*/ 561 h 1202"/>
                <a:gd name="T18" fmla="*/ 1860 w 1920"/>
                <a:gd name="T19" fmla="*/ 667 h 1202"/>
                <a:gd name="T20" fmla="*/ 1748 w 1920"/>
                <a:gd name="T21" fmla="*/ 713 h 1202"/>
                <a:gd name="T22" fmla="*/ 1622 w 1920"/>
                <a:gd name="T23" fmla="*/ 746 h 1202"/>
                <a:gd name="T24" fmla="*/ 1385 w 1920"/>
                <a:gd name="T25" fmla="*/ 891 h 1202"/>
                <a:gd name="T26" fmla="*/ 1345 w 1920"/>
                <a:gd name="T27" fmla="*/ 1023 h 1202"/>
                <a:gd name="T28" fmla="*/ 1299 w 1920"/>
                <a:gd name="T29" fmla="*/ 1036 h 1202"/>
                <a:gd name="T30" fmla="*/ 1220 w 1920"/>
                <a:gd name="T31" fmla="*/ 1043 h 1202"/>
                <a:gd name="T32" fmla="*/ 1022 w 1920"/>
                <a:gd name="T33" fmla="*/ 1016 h 1202"/>
                <a:gd name="T34" fmla="*/ 864 w 1920"/>
                <a:gd name="T35" fmla="*/ 1036 h 1202"/>
                <a:gd name="T36" fmla="*/ 791 w 1920"/>
                <a:gd name="T37" fmla="*/ 964 h 1202"/>
                <a:gd name="T38" fmla="*/ 666 w 1920"/>
                <a:gd name="T39" fmla="*/ 1043 h 1202"/>
                <a:gd name="T40" fmla="*/ 600 w 1920"/>
                <a:gd name="T41" fmla="*/ 1043 h 1202"/>
                <a:gd name="T42" fmla="*/ 415 w 1920"/>
                <a:gd name="T43" fmla="*/ 970 h 1202"/>
                <a:gd name="T44" fmla="*/ 369 w 1920"/>
                <a:gd name="T45" fmla="*/ 1003 h 1202"/>
                <a:gd name="T46" fmla="*/ 290 w 1920"/>
                <a:gd name="T47" fmla="*/ 1036 h 1202"/>
                <a:gd name="T48" fmla="*/ 204 w 1920"/>
                <a:gd name="T49" fmla="*/ 990 h 1202"/>
                <a:gd name="T50" fmla="*/ 145 w 1920"/>
                <a:gd name="T51" fmla="*/ 1023 h 1202"/>
                <a:gd name="T52" fmla="*/ 105 w 1920"/>
                <a:gd name="T53" fmla="*/ 1049 h 1202"/>
                <a:gd name="T54" fmla="*/ 105 w 1920"/>
                <a:gd name="T55" fmla="*/ 1049 h 1202"/>
                <a:gd name="T56" fmla="*/ 118 w 1920"/>
                <a:gd name="T57" fmla="*/ 1155 h 1202"/>
                <a:gd name="T58" fmla="*/ 118 w 1920"/>
                <a:gd name="T59" fmla="*/ 1201 h 1202"/>
                <a:gd name="T60" fmla="*/ 85 w 1920"/>
                <a:gd name="T61" fmla="*/ 1201 h 1202"/>
                <a:gd name="T62" fmla="*/ 85 w 1920"/>
                <a:gd name="T63" fmla="*/ 1201 h 1202"/>
                <a:gd name="T64" fmla="*/ 6 w 1920"/>
                <a:gd name="T65" fmla="*/ 1161 h 1202"/>
                <a:gd name="T66" fmla="*/ 6 w 1920"/>
                <a:gd name="T67" fmla="*/ 1161 h 1202"/>
                <a:gd name="T68" fmla="*/ 0 w 1920"/>
                <a:gd name="T69" fmla="*/ 1148 h 1202"/>
                <a:gd name="T70" fmla="*/ 19 w 1920"/>
                <a:gd name="T71" fmla="*/ 1056 h 1202"/>
                <a:gd name="T72" fmla="*/ 52 w 1920"/>
                <a:gd name="T73" fmla="*/ 977 h 1202"/>
                <a:gd name="T74" fmla="*/ 296 w 1920"/>
                <a:gd name="T75" fmla="*/ 897 h 1202"/>
                <a:gd name="T76" fmla="*/ 296 w 1920"/>
                <a:gd name="T77" fmla="*/ 865 h 1202"/>
                <a:gd name="T78" fmla="*/ 270 w 1920"/>
                <a:gd name="T79" fmla="*/ 825 h 1202"/>
                <a:gd name="T80" fmla="*/ 230 w 1920"/>
                <a:gd name="T81" fmla="*/ 799 h 1202"/>
                <a:gd name="T82" fmla="*/ 165 w 1920"/>
                <a:gd name="T83" fmla="*/ 799 h 1202"/>
                <a:gd name="T84" fmla="*/ 66 w 1920"/>
                <a:gd name="T85" fmla="*/ 766 h 1202"/>
                <a:gd name="T86" fmla="*/ 98 w 1920"/>
                <a:gd name="T87" fmla="*/ 647 h 1202"/>
                <a:gd name="T88" fmla="*/ 98 w 1920"/>
                <a:gd name="T89" fmla="*/ 647 h 1202"/>
                <a:gd name="T90" fmla="*/ 296 w 1920"/>
                <a:gd name="T91" fmla="*/ 574 h 1202"/>
                <a:gd name="T92" fmla="*/ 646 w 1920"/>
                <a:gd name="T93" fmla="*/ 515 h 1202"/>
                <a:gd name="T94" fmla="*/ 963 w 1920"/>
                <a:gd name="T95" fmla="*/ 515 h 1202"/>
                <a:gd name="T96" fmla="*/ 1088 w 1920"/>
                <a:gd name="T97" fmla="*/ 489 h 1202"/>
                <a:gd name="T98" fmla="*/ 1226 w 1920"/>
                <a:gd name="T99" fmla="*/ 442 h 1202"/>
                <a:gd name="T100" fmla="*/ 1286 w 1920"/>
                <a:gd name="T101" fmla="*/ 291 h 1202"/>
                <a:gd name="T102" fmla="*/ 1338 w 1920"/>
                <a:gd name="T103" fmla="*/ 166 h 1202"/>
                <a:gd name="T104" fmla="*/ 1405 w 1920"/>
                <a:gd name="T105" fmla="*/ 47 h 1202"/>
                <a:gd name="T106" fmla="*/ 1556 w 1920"/>
                <a:gd name="T107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20" h="1202">
                  <a:moveTo>
                    <a:pt x="1556" y="0"/>
                  </a:moveTo>
                  <a:lnTo>
                    <a:pt x="1556" y="0"/>
                  </a:lnTo>
                  <a:cubicBezTo>
                    <a:pt x="1576" y="60"/>
                    <a:pt x="1556" y="126"/>
                    <a:pt x="1609" y="152"/>
                  </a:cubicBezTo>
                  <a:cubicBezTo>
                    <a:pt x="1681" y="185"/>
                    <a:pt x="1734" y="166"/>
                    <a:pt x="1820" y="185"/>
                  </a:cubicBezTo>
                  <a:cubicBezTo>
                    <a:pt x="1873" y="198"/>
                    <a:pt x="1879" y="258"/>
                    <a:pt x="1919" y="297"/>
                  </a:cubicBezTo>
                  <a:lnTo>
                    <a:pt x="1919" y="297"/>
                  </a:lnTo>
                  <a:cubicBezTo>
                    <a:pt x="1912" y="311"/>
                    <a:pt x="1906" y="317"/>
                    <a:pt x="1906" y="330"/>
                  </a:cubicBezTo>
                  <a:cubicBezTo>
                    <a:pt x="1893" y="363"/>
                    <a:pt x="1879" y="377"/>
                    <a:pt x="1866" y="396"/>
                  </a:cubicBezTo>
                  <a:cubicBezTo>
                    <a:pt x="1833" y="449"/>
                    <a:pt x="1860" y="495"/>
                    <a:pt x="1860" y="561"/>
                  </a:cubicBezTo>
                  <a:cubicBezTo>
                    <a:pt x="1860" y="601"/>
                    <a:pt x="1879" y="627"/>
                    <a:pt x="1860" y="667"/>
                  </a:cubicBezTo>
                  <a:cubicBezTo>
                    <a:pt x="1833" y="700"/>
                    <a:pt x="1794" y="700"/>
                    <a:pt x="1748" y="713"/>
                  </a:cubicBezTo>
                  <a:cubicBezTo>
                    <a:pt x="1701" y="726"/>
                    <a:pt x="1675" y="739"/>
                    <a:pt x="1622" y="746"/>
                  </a:cubicBezTo>
                  <a:cubicBezTo>
                    <a:pt x="1523" y="772"/>
                    <a:pt x="1457" y="812"/>
                    <a:pt x="1385" y="891"/>
                  </a:cubicBezTo>
                  <a:cubicBezTo>
                    <a:pt x="1332" y="911"/>
                    <a:pt x="1378" y="977"/>
                    <a:pt x="1345" y="1023"/>
                  </a:cubicBezTo>
                  <a:cubicBezTo>
                    <a:pt x="1332" y="1036"/>
                    <a:pt x="1319" y="1029"/>
                    <a:pt x="1299" y="1036"/>
                  </a:cubicBezTo>
                  <a:cubicBezTo>
                    <a:pt x="1266" y="1043"/>
                    <a:pt x="1253" y="1043"/>
                    <a:pt x="1220" y="1043"/>
                  </a:cubicBezTo>
                  <a:cubicBezTo>
                    <a:pt x="1141" y="1043"/>
                    <a:pt x="1094" y="1016"/>
                    <a:pt x="1022" y="1016"/>
                  </a:cubicBezTo>
                  <a:cubicBezTo>
                    <a:pt x="956" y="1016"/>
                    <a:pt x="923" y="1036"/>
                    <a:pt x="864" y="1036"/>
                  </a:cubicBezTo>
                  <a:cubicBezTo>
                    <a:pt x="824" y="1036"/>
                    <a:pt x="831" y="964"/>
                    <a:pt x="791" y="964"/>
                  </a:cubicBezTo>
                  <a:cubicBezTo>
                    <a:pt x="738" y="964"/>
                    <a:pt x="725" y="1043"/>
                    <a:pt x="666" y="1043"/>
                  </a:cubicBezTo>
                  <a:cubicBezTo>
                    <a:pt x="639" y="1043"/>
                    <a:pt x="626" y="1043"/>
                    <a:pt x="600" y="1043"/>
                  </a:cubicBezTo>
                  <a:cubicBezTo>
                    <a:pt x="521" y="1043"/>
                    <a:pt x="488" y="970"/>
                    <a:pt x="415" y="970"/>
                  </a:cubicBezTo>
                  <a:cubicBezTo>
                    <a:pt x="395" y="970"/>
                    <a:pt x="389" y="990"/>
                    <a:pt x="369" y="1003"/>
                  </a:cubicBezTo>
                  <a:cubicBezTo>
                    <a:pt x="343" y="1023"/>
                    <a:pt x="323" y="1036"/>
                    <a:pt x="290" y="1036"/>
                  </a:cubicBezTo>
                  <a:cubicBezTo>
                    <a:pt x="250" y="1036"/>
                    <a:pt x="244" y="990"/>
                    <a:pt x="204" y="990"/>
                  </a:cubicBezTo>
                  <a:cubicBezTo>
                    <a:pt x="178" y="990"/>
                    <a:pt x="171" y="1010"/>
                    <a:pt x="145" y="1023"/>
                  </a:cubicBezTo>
                  <a:cubicBezTo>
                    <a:pt x="125" y="1029"/>
                    <a:pt x="112" y="1029"/>
                    <a:pt x="105" y="1049"/>
                  </a:cubicBezTo>
                  <a:lnTo>
                    <a:pt x="105" y="1049"/>
                  </a:lnTo>
                  <a:cubicBezTo>
                    <a:pt x="118" y="1155"/>
                    <a:pt x="118" y="1155"/>
                    <a:pt x="118" y="1155"/>
                  </a:cubicBezTo>
                  <a:cubicBezTo>
                    <a:pt x="118" y="1201"/>
                    <a:pt x="118" y="1201"/>
                    <a:pt x="118" y="1201"/>
                  </a:cubicBezTo>
                  <a:cubicBezTo>
                    <a:pt x="85" y="1201"/>
                    <a:pt x="85" y="1201"/>
                    <a:pt x="85" y="1201"/>
                  </a:cubicBezTo>
                  <a:lnTo>
                    <a:pt x="85" y="1201"/>
                  </a:lnTo>
                  <a:cubicBezTo>
                    <a:pt x="59" y="1175"/>
                    <a:pt x="39" y="1161"/>
                    <a:pt x="6" y="1161"/>
                  </a:cubicBezTo>
                  <a:lnTo>
                    <a:pt x="6" y="1161"/>
                  </a:lnTo>
                  <a:cubicBezTo>
                    <a:pt x="6" y="1155"/>
                    <a:pt x="0" y="1155"/>
                    <a:pt x="0" y="1148"/>
                  </a:cubicBezTo>
                  <a:cubicBezTo>
                    <a:pt x="0" y="1115"/>
                    <a:pt x="13" y="1089"/>
                    <a:pt x="19" y="1056"/>
                  </a:cubicBezTo>
                  <a:cubicBezTo>
                    <a:pt x="26" y="1023"/>
                    <a:pt x="26" y="996"/>
                    <a:pt x="52" y="977"/>
                  </a:cubicBezTo>
                  <a:cubicBezTo>
                    <a:pt x="132" y="917"/>
                    <a:pt x="197" y="897"/>
                    <a:pt x="296" y="897"/>
                  </a:cubicBezTo>
                  <a:cubicBezTo>
                    <a:pt x="296" y="884"/>
                    <a:pt x="296" y="878"/>
                    <a:pt x="296" y="865"/>
                  </a:cubicBezTo>
                  <a:cubicBezTo>
                    <a:pt x="296" y="845"/>
                    <a:pt x="283" y="838"/>
                    <a:pt x="270" y="825"/>
                  </a:cubicBezTo>
                  <a:cubicBezTo>
                    <a:pt x="257" y="812"/>
                    <a:pt x="250" y="799"/>
                    <a:pt x="230" y="799"/>
                  </a:cubicBezTo>
                  <a:cubicBezTo>
                    <a:pt x="204" y="799"/>
                    <a:pt x="191" y="799"/>
                    <a:pt x="165" y="799"/>
                  </a:cubicBezTo>
                  <a:cubicBezTo>
                    <a:pt x="125" y="799"/>
                    <a:pt x="66" y="805"/>
                    <a:pt x="66" y="766"/>
                  </a:cubicBezTo>
                  <a:cubicBezTo>
                    <a:pt x="66" y="720"/>
                    <a:pt x="79" y="686"/>
                    <a:pt x="98" y="647"/>
                  </a:cubicBezTo>
                  <a:lnTo>
                    <a:pt x="98" y="647"/>
                  </a:lnTo>
                  <a:cubicBezTo>
                    <a:pt x="171" y="607"/>
                    <a:pt x="217" y="588"/>
                    <a:pt x="296" y="574"/>
                  </a:cubicBezTo>
                  <a:cubicBezTo>
                    <a:pt x="428" y="541"/>
                    <a:pt x="507" y="515"/>
                    <a:pt x="646" y="515"/>
                  </a:cubicBezTo>
                  <a:cubicBezTo>
                    <a:pt x="765" y="515"/>
                    <a:pt x="837" y="515"/>
                    <a:pt x="963" y="515"/>
                  </a:cubicBezTo>
                  <a:cubicBezTo>
                    <a:pt x="1009" y="515"/>
                    <a:pt x="1042" y="502"/>
                    <a:pt x="1088" y="489"/>
                  </a:cubicBezTo>
                  <a:cubicBezTo>
                    <a:pt x="1141" y="475"/>
                    <a:pt x="1187" y="482"/>
                    <a:pt x="1226" y="442"/>
                  </a:cubicBezTo>
                  <a:cubicBezTo>
                    <a:pt x="1266" y="396"/>
                    <a:pt x="1253" y="343"/>
                    <a:pt x="1286" y="291"/>
                  </a:cubicBezTo>
                  <a:cubicBezTo>
                    <a:pt x="1306" y="245"/>
                    <a:pt x="1319" y="212"/>
                    <a:pt x="1338" y="166"/>
                  </a:cubicBezTo>
                  <a:cubicBezTo>
                    <a:pt x="1358" y="113"/>
                    <a:pt x="1358" y="73"/>
                    <a:pt x="1405" y="47"/>
                  </a:cubicBezTo>
                  <a:cubicBezTo>
                    <a:pt x="1457" y="14"/>
                    <a:pt x="1497" y="20"/>
                    <a:pt x="1556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3" name="Freeform 39"/>
            <p:cNvSpPr>
              <a:spLocks noChangeArrowheads="1"/>
            </p:cNvSpPr>
            <p:nvPr/>
          </p:nvSpPr>
          <p:spPr bwMode="auto">
            <a:xfrm>
              <a:off x="8909264" y="7840657"/>
              <a:ext cx="434947" cy="615950"/>
            </a:xfrm>
            <a:custGeom>
              <a:avLst/>
              <a:gdLst>
                <a:gd name="T0" fmla="*/ 950 w 1208"/>
                <a:gd name="T1" fmla="*/ 0 h 1709"/>
                <a:gd name="T2" fmla="*/ 950 w 1208"/>
                <a:gd name="T3" fmla="*/ 0 h 1709"/>
                <a:gd name="T4" fmla="*/ 983 w 1208"/>
                <a:gd name="T5" fmla="*/ 106 h 1709"/>
                <a:gd name="T6" fmla="*/ 1023 w 1208"/>
                <a:gd name="T7" fmla="*/ 119 h 1709"/>
                <a:gd name="T8" fmla="*/ 1207 w 1208"/>
                <a:gd name="T9" fmla="*/ 211 h 1709"/>
                <a:gd name="T10" fmla="*/ 1207 w 1208"/>
                <a:gd name="T11" fmla="*/ 211 h 1709"/>
                <a:gd name="T12" fmla="*/ 1194 w 1208"/>
                <a:gd name="T13" fmla="*/ 284 h 1709"/>
                <a:gd name="T14" fmla="*/ 1194 w 1208"/>
                <a:gd name="T15" fmla="*/ 402 h 1709"/>
                <a:gd name="T16" fmla="*/ 1108 w 1208"/>
                <a:gd name="T17" fmla="*/ 772 h 1709"/>
                <a:gd name="T18" fmla="*/ 1082 w 1208"/>
                <a:gd name="T19" fmla="*/ 831 h 1709"/>
                <a:gd name="T20" fmla="*/ 1023 w 1208"/>
                <a:gd name="T21" fmla="*/ 857 h 1709"/>
                <a:gd name="T22" fmla="*/ 831 w 1208"/>
                <a:gd name="T23" fmla="*/ 1062 h 1709"/>
                <a:gd name="T24" fmla="*/ 726 w 1208"/>
                <a:gd name="T25" fmla="*/ 1220 h 1709"/>
                <a:gd name="T26" fmla="*/ 660 w 1208"/>
                <a:gd name="T27" fmla="*/ 1365 h 1709"/>
                <a:gd name="T28" fmla="*/ 535 w 1208"/>
                <a:gd name="T29" fmla="*/ 1484 h 1709"/>
                <a:gd name="T30" fmla="*/ 363 w 1208"/>
                <a:gd name="T31" fmla="*/ 1708 h 1709"/>
                <a:gd name="T32" fmla="*/ 363 w 1208"/>
                <a:gd name="T33" fmla="*/ 1708 h 1709"/>
                <a:gd name="T34" fmla="*/ 264 w 1208"/>
                <a:gd name="T35" fmla="*/ 1596 h 1709"/>
                <a:gd name="T36" fmla="*/ 53 w 1208"/>
                <a:gd name="T37" fmla="*/ 1563 h 1709"/>
                <a:gd name="T38" fmla="*/ 0 w 1208"/>
                <a:gd name="T39" fmla="*/ 1411 h 1709"/>
                <a:gd name="T40" fmla="*/ 0 w 1208"/>
                <a:gd name="T41" fmla="*/ 1411 h 1709"/>
                <a:gd name="T42" fmla="*/ 40 w 1208"/>
                <a:gd name="T43" fmla="*/ 1273 h 1709"/>
                <a:gd name="T44" fmla="*/ 40 w 1208"/>
                <a:gd name="T45" fmla="*/ 1200 h 1709"/>
                <a:gd name="T46" fmla="*/ 145 w 1208"/>
                <a:gd name="T47" fmla="*/ 1075 h 1709"/>
                <a:gd name="T48" fmla="*/ 238 w 1208"/>
                <a:gd name="T49" fmla="*/ 1003 h 1709"/>
                <a:gd name="T50" fmla="*/ 376 w 1208"/>
                <a:gd name="T51" fmla="*/ 950 h 1709"/>
                <a:gd name="T52" fmla="*/ 455 w 1208"/>
                <a:gd name="T53" fmla="*/ 831 h 1709"/>
                <a:gd name="T54" fmla="*/ 521 w 1208"/>
                <a:gd name="T55" fmla="*/ 673 h 1709"/>
                <a:gd name="T56" fmla="*/ 554 w 1208"/>
                <a:gd name="T57" fmla="*/ 541 h 1709"/>
                <a:gd name="T58" fmla="*/ 541 w 1208"/>
                <a:gd name="T59" fmla="*/ 488 h 1709"/>
                <a:gd name="T60" fmla="*/ 574 w 1208"/>
                <a:gd name="T61" fmla="*/ 462 h 1709"/>
                <a:gd name="T62" fmla="*/ 634 w 1208"/>
                <a:gd name="T63" fmla="*/ 416 h 1709"/>
                <a:gd name="T64" fmla="*/ 594 w 1208"/>
                <a:gd name="T65" fmla="*/ 310 h 1709"/>
                <a:gd name="T66" fmla="*/ 640 w 1208"/>
                <a:gd name="T67" fmla="*/ 264 h 1709"/>
                <a:gd name="T68" fmla="*/ 680 w 1208"/>
                <a:gd name="T69" fmla="*/ 191 h 1709"/>
                <a:gd name="T70" fmla="*/ 739 w 1208"/>
                <a:gd name="T71" fmla="*/ 66 h 1709"/>
                <a:gd name="T72" fmla="*/ 831 w 1208"/>
                <a:gd name="T73" fmla="*/ 26 h 1709"/>
                <a:gd name="T74" fmla="*/ 950 w 1208"/>
                <a:gd name="T75" fmla="*/ 0 h 1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08" h="1709">
                  <a:moveTo>
                    <a:pt x="950" y="0"/>
                  </a:moveTo>
                  <a:lnTo>
                    <a:pt x="950" y="0"/>
                  </a:lnTo>
                  <a:cubicBezTo>
                    <a:pt x="950" y="40"/>
                    <a:pt x="943" y="79"/>
                    <a:pt x="983" y="106"/>
                  </a:cubicBezTo>
                  <a:cubicBezTo>
                    <a:pt x="990" y="112"/>
                    <a:pt x="1009" y="112"/>
                    <a:pt x="1023" y="119"/>
                  </a:cubicBezTo>
                  <a:cubicBezTo>
                    <a:pt x="1095" y="145"/>
                    <a:pt x="1135" y="185"/>
                    <a:pt x="1207" y="211"/>
                  </a:cubicBezTo>
                  <a:lnTo>
                    <a:pt x="1207" y="211"/>
                  </a:lnTo>
                  <a:cubicBezTo>
                    <a:pt x="1201" y="231"/>
                    <a:pt x="1194" y="257"/>
                    <a:pt x="1194" y="284"/>
                  </a:cubicBezTo>
                  <a:cubicBezTo>
                    <a:pt x="1194" y="330"/>
                    <a:pt x="1194" y="356"/>
                    <a:pt x="1194" y="402"/>
                  </a:cubicBezTo>
                  <a:cubicBezTo>
                    <a:pt x="1194" y="554"/>
                    <a:pt x="1188" y="646"/>
                    <a:pt x="1108" y="772"/>
                  </a:cubicBezTo>
                  <a:cubicBezTo>
                    <a:pt x="1095" y="792"/>
                    <a:pt x="1089" y="811"/>
                    <a:pt x="1082" y="831"/>
                  </a:cubicBezTo>
                  <a:cubicBezTo>
                    <a:pt x="1069" y="851"/>
                    <a:pt x="1042" y="844"/>
                    <a:pt x="1023" y="857"/>
                  </a:cubicBezTo>
                  <a:cubicBezTo>
                    <a:pt x="930" y="917"/>
                    <a:pt x="864" y="963"/>
                    <a:pt x="831" y="1062"/>
                  </a:cubicBezTo>
                  <a:cubicBezTo>
                    <a:pt x="805" y="1135"/>
                    <a:pt x="765" y="1161"/>
                    <a:pt x="726" y="1220"/>
                  </a:cubicBezTo>
                  <a:cubicBezTo>
                    <a:pt x="693" y="1273"/>
                    <a:pt x="693" y="1313"/>
                    <a:pt x="660" y="1365"/>
                  </a:cubicBezTo>
                  <a:cubicBezTo>
                    <a:pt x="620" y="1418"/>
                    <a:pt x="587" y="1438"/>
                    <a:pt x="535" y="1484"/>
                  </a:cubicBezTo>
                  <a:cubicBezTo>
                    <a:pt x="449" y="1557"/>
                    <a:pt x="409" y="1616"/>
                    <a:pt x="363" y="1708"/>
                  </a:cubicBezTo>
                  <a:lnTo>
                    <a:pt x="363" y="1708"/>
                  </a:lnTo>
                  <a:cubicBezTo>
                    <a:pt x="323" y="1669"/>
                    <a:pt x="317" y="1609"/>
                    <a:pt x="264" y="1596"/>
                  </a:cubicBezTo>
                  <a:cubicBezTo>
                    <a:pt x="178" y="1577"/>
                    <a:pt x="125" y="1596"/>
                    <a:pt x="53" y="1563"/>
                  </a:cubicBezTo>
                  <a:cubicBezTo>
                    <a:pt x="0" y="1537"/>
                    <a:pt x="20" y="1471"/>
                    <a:pt x="0" y="1411"/>
                  </a:cubicBezTo>
                  <a:lnTo>
                    <a:pt x="0" y="1411"/>
                  </a:lnTo>
                  <a:cubicBezTo>
                    <a:pt x="7" y="1365"/>
                    <a:pt x="40" y="1319"/>
                    <a:pt x="40" y="1273"/>
                  </a:cubicBezTo>
                  <a:cubicBezTo>
                    <a:pt x="40" y="1247"/>
                    <a:pt x="40" y="1234"/>
                    <a:pt x="40" y="1200"/>
                  </a:cubicBezTo>
                  <a:cubicBezTo>
                    <a:pt x="40" y="1141"/>
                    <a:pt x="99" y="1115"/>
                    <a:pt x="145" y="1075"/>
                  </a:cubicBezTo>
                  <a:cubicBezTo>
                    <a:pt x="185" y="1049"/>
                    <a:pt x="198" y="1022"/>
                    <a:pt x="238" y="1003"/>
                  </a:cubicBezTo>
                  <a:cubicBezTo>
                    <a:pt x="297" y="983"/>
                    <a:pt x="330" y="983"/>
                    <a:pt x="376" y="950"/>
                  </a:cubicBezTo>
                  <a:cubicBezTo>
                    <a:pt x="422" y="917"/>
                    <a:pt x="422" y="877"/>
                    <a:pt x="455" y="831"/>
                  </a:cubicBezTo>
                  <a:cubicBezTo>
                    <a:pt x="502" y="785"/>
                    <a:pt x="508" y="739"/>
                    <a:pt x="521" y="673"/>
                  </a:cubicBezTo>
                  <a:cubicBezTo>
                    <a:pt x="535" y="620"/>
                    <a:pt x="554" y="594"/>
                    <a:pt x="554" y="541"/>
                  </a:cubicBezTo>
                  <a:cubicBezTo>
                    <a:pt x="554" y="521"/>
                    <a:pt x="548" y="508"/>
                    <a:pt x="541" y="488"/>
                  </a:cubicBezTo>
                  <a:cubicBezTo>
                    <a:pt x="561" y="475"/>
                    <a:pt x="561" y="468"/>
                    <a:pt x="574" y="462"/>
                  </a:cubicBezTo>
                  <a:cubicBezTo>
                    <a:pt x="600" y="449"/>
                    <a:pt x="634" y="442"/>
                    <a:pt x="634" y="416"/>
                  </a:cubicBezTo>
                  <a:cubicBezTo>
                    <a:pt x="634" y="369"/>
                    <a:pt x="594" y="356"/>
                    <a:pt x="594" y="310"/>
                  </a:cubicBezTo>
                  <a:cubicBezTo>
                    <a:pt x="594" y="284"/>
                    <a:pt x="627" y="284"/>
                    <a:pt x="640" y="264"/>
                  </a:cubicBezTo>
                  <a:cubicBezTo>
                    <a:pt x="653" y="238"/>
                    <a:pt x="666" y="224"/>
                    <a:pt x="680" y="191"/>
                  </a:cubicBezTo>
                  <a:cubicBezTo>
                    <a:pt x="693" y="139"/>
                    <a:pt x="706" y="112"/>
                    <a:pt x="739" y="66"/>
                  </a:cubicBezTo>
                  <a:cubicBezTo>
                    <a:pt x="759" y="33"/>
                    <a:pt x="792" y="33"/>
                    <a:pt x="831" y="26"/>
                  </a:cubicBezTo>
                  <a:cubicBezTo>
                    <a:pt x="891" y="13"/>
                    <a:pt x="891" y="7"/>
                    <a:pt x="950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4" name="Freeform 40"/>
            <p:cNvSpPr>
              <a:spLocks noChangeArrowheads="1"/>
            </p:cNvSpPr>
            <p:nvPr/>
          </p:nvSpPr>
          <p:spPr bwMode="auto">
            <a:xfrm>
              <a:off x="7383776" y="7069132"/>
              <a:ext cx="1968372" cy="1562100"/>
            </a:xfrm>
            <a:custGeom>
              <a:avLst/>
              <a:gdLst>
                <a:gd name="T0" fmla="*/ 1893 w 5469"/>
                <a:gd name="T1" fmla="*/ 1009 h 4340"/>
                <a:gd name="T2" fmla="*/ 1893 w 5469"/>
                <a:gd name="T3" fmla="*/ 1286 h 4340"/>
                <a:gd name="T4" fmla="*/ 1853 w 5469"/>
                <a:gd name="T5" fmla="*/ 1556 h 4340"/>
                <a:gd name="T6" fmla="*/ 1801 w 5469"/>
                <a:gd name="T7" fmla="*/ 1932 h 4340"/>
                <a:gd name="T8" fmla="*/ 1458 w 5469"/>
                <a:gd name="T9" fmla="*/ 2011 h 4340"/>
                <a:gd name="T10" fmla="*/ 1141 w 5469"/>
                <a:gd name="T11" fmla="*/ 2011 h 4340"/>
                <a:gd name="T12" fmla="*/ 930 w 5469"/>
                <a:gd name="T13" fmla="*/ 1991 h 4340"/>
                <a:gd name="T14" fmla="*/ 745 w 5469"/>
                <a:gd name="T15" fmla="*/ 2018 h 4340"/>
                <a:gd name="T16" fmla="*/ 376 w 5469"/>
                <a:gd name="T17" fmla="*/ 2123 h 4340"/>
                <a:gd name="T18" fmla="*/ 257 w 5469"/>
                <a:gd name="T19" fmla="*/ 2235 h 4340"/>
                <a:gd name="T20" fmla="*/ 125 w 5469"/>
                <a:gd name="T21" fmla="*/ 2341 h 4340"/>
                <a:gd name="T22" fmla="*/ 0 w 5469"/>
                <a:gd name="T23" fmla="*/ 2605 h 4340"/>
                <a:gd name="T24" fmla="*/ 132 w 5469"/>
                <a:gd name="T25" fmla="*/ 2638 h 4340"/>
                <a:gd name="T26" fmla="*/ 541 w 5469"/>
                <a:gd name="T27" fmla="*/ 2691 h 4340"/>
                <a:gd name="T28" fmla="*/ 759 w 5469"/>
                <a:gd name="T29" fmla="*/ 2783 h 4340"/>
                <a:gd name="T30" fmla="*/ 792 w 5469"/>
                <a:gd name="T31" fmla="*/ 2948 h 4340"/>
                <a:gd name="T32" fmla="*/ 1247 w 5469"/>
                <a:gd name="T33" fmla="*/ 2882 h 4340"/>
                <a:gd name="T34" fmla="*/ 1524 w 5469"/>
                <a:gd name="T35" fmla="*/ 2862 h 4340"/>
                <a:gd name="T36" fmla="*/ 1741 w 5469"/>
                <a:gd name="T37" fmla="*/ 3073 h 4340"/>
                <a:gd name="T38" fmla="*/ 1761 w 5469"/>
                <a:gd name="T39" fmla="*/ 3449 h 4340"/>
                <a:gd name="T40" fmla="*/ 2025 w 5469"/>
                <a:gd name="T41" fmla="*/ 3693 h 4340"/>
                <a:gd name="T42" fmla="*/ 1999 w 5469"/>
                <a:gd name="T43" fmla="*/ 4161 h 4340"/>
                <a:gd name="T44" fmla="*/ 2309 w 5469"/>
                <a:gd name="T45" fmla="*/ 4201 h 4340"/>
                <a:gd name="T46" fmla="*/ 2553 w 5469"/>
                <a:gd name="T47" fmla="*/ 4188 h 4340"/>
                <a:gd name="T48" fmla="*/ 2783 w 5469"/>
                <a:gd name="T49" fmla="*/ 4201 h 4340"/>
                <a:gd name="T50" fmla="*/ 3648 w 5469"/>
                <a:gd name="T51" fmla="*/ 4069 h 4340"/>
                <a:gd name="T52" fmla="*/ 3971 w 5469"/>
                <a:gd name="T53" fmla="*/ 3845 h 4340"/>
                <a:gd name="T54" fmla="*/ 4241 w 5469"/>
                <a:gd name="T55" fmla="*/ 3554 h 4340"/>
                <a:gd name="T56" fmla="*/ 4281 w 5469"/>
                <a:gd name="T57" fmla="*/ 3343 h 4340"/>
                <a:gd name="T58" fmla="*/ 4617 w 5469"/>
                <a:gd name="T59" fmla="*/ 3093 h 4340"/>
                <a:gd name="T60" fmla="*/ 4795 w 5469"/>
                <a:gd name="T61" fmla="*/ 2684 h 4340"/>
                <a:gd name="T62" fmla="*/ 4875 w 5469"/>
                <a:gd name="T63" fmla="*/ 2559 h 4340"/>
                <a:gd name="T64" fmla="*/ 4921 w 5469"/>
                <a:gd name="T65" fmla="*/ 2334 h 4340"/>
                <a:gd name="T66" fmla="*/ 5191 w 5469"/>
                <a:gd name="T67" fmla="*/ 2143 h 4340"/>
                <a:gd name="T68" fmla="*/ 5257 w 5469"/>
                <a:gd name="T69" fmla="*/ 1939 h 4340"/>
                <a:gd name="T70" fmla="*/ 5369 w 5469"/>
                <a:gd name="T71" fmla="*/ 1516 h 4340"/>
                <a:gd name="T72" fmla="*/ 5231 w 5469"/>
                <a:gd name="T73" fmla="*/ 1002 h 4340"/>
                <a:gd name="T74" fmla="*/ 4888 w 5469"/>
                <a:gd name="T75" fmla="*/ 976 h 4340"/>
                <a:gd name="T76" fmla="*/ 4729 w 5469"/>
                <a:gd name="T77" fmla="*/ 725 h 4340"/>
                <a:gd name="T78" fmla="*/ 4386 w 5469"/>
                <a:gd name="T79" fmla="*/ 587 h 4340"/>
                <a:gd name="T80" fmla="*/ 4057 w 5469"/>
                <a:gd name="T81" fmla="*/ 329 h 4340"/>
                <a:gd name="T82" fmla="*/ 3733 w 5469"/>
                <a:gd name="T83" fmla="*/ 257 h 4340"/>
                <a:gd name="T84" fmla="*/ 3707 w 5469"/>
                <a:gd name="T85" fmla="*/ 59 h 4340"/>
                <a:gd name="T86" fmla="*/ 3509 w 5469"/>
                <a:gd name="T87" fmla="*/ 0 h 4340"/>
                <a:gd name="T88" fmla="*/ 3305 w 5469"/>
                <a:gd name="T89" fmla="*/ 59 h 4340"/>
                <a:gd name="T90" fmla="*/ 2737 w 5469"/>
                <a:gd name="T91" fmla="*/ 369 h 4340"/>
                <a:gd name="T92" fmla="*/ 2546 w 5469"/>
                <a:gd name="T93" fmla="*/ 257 h 4340"/>
                <a:gd name="T94" fmla="*/ 2131 w 5469"/>
                <a:gd name="T95" fmla="*/ 494 h 4340"/>
                <a:gd name="T96" fmla="*/ 2018 w 5469"/>
                <a:gd name="T97" fmla="*/ 771 h 4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69" h="4340">
                  <a:moveTo>
                    <a:pt x="1985" y="817"/>
                  </a:moveTo>
                  <a:lnTo>
                    <a:pt x="1985" y="817"/>
                  </a:lnTo>
                  <a:cubicBezTo>
                    <a:pt x="1979" y="897"/>
                    <a:pt x="1893" y="930"/>
                    <a:pt x="1893" y="1009"/>
                  </a:cubicBezTo>
                  <a:cubicBezTo>
                    <a:pt x="1893" y="1061"/>
                    <a:pt x="1939" y="1088"/>
                    <a:pt x="1939" y="1141"/>
                  </a:cubicBezTo>
                  <a:cubicBezTo>
                    <a:pt x="1939" y="1167"/>
                    <a:pt x="1939" y="1187"/>
                    <a:pt x="1939" y="1213"/>
                  </a:cubicBezTo>
                  <a:cubicBezTo>
                    <a:pt x="1939" y="1246"/>
                    <a:pt x="1906" y="1259"/>
                    <a:pt x="1893" y="1286"/>
                  </a:cubicBezTo>
                  <a:cubicBezTo>
                    <a:pt x="1873" y="1338"/>
                    <a:pt x="1860" y="1365"/>
                    <a:pt x="1840" y="1417"/>
                  </a:cubicBezTo>
                  <a:cubicBezTo>
                    <a:pt x="1827" y="1444"/>
                    <a:pt x="1814" y="1451"/>
                    <a:pt x="1814" y="1484"/>
                  </a:cubicBezTo>
                  <a:cubicBezTo>
                    <a:pt x="1814" y="1516"/>
                    <a:pt x="1834" y="1523"/>
                    <a:pt x="1853" y="1556"/>
                  </a:cubicBezTo>
                  <a:cubicBezTo>
                    <a:pt x="1860" y="1576"/>
                    <a:pt x="1886" y="1589"/>
                    <a:pt x="1886" y="1615"/>
                  </a:cubicBezTo>
                  <a:cubicBezTo>
                    <a:pt x="1886" y="1695"/>
                    <a:pt x="1801" y="1721"/>
                    <a:pt x="1801" y="1800"/>
                  </a:cubicBezTo>
                  <a:cubicBezTo>
                    <a:pt x="1801" y="1853"/>
                    <a:pt x="1801" y="1879"/>
                    <a:pt x="1801" y="1932"/>
                  </a:cubicBezTo>
                  <a:cubicBezTo>
                    <a:pt x="1715" y="1932"/>
                    <a:pt x="1675" y="1965"/>
                    <a:pt x="1603" y="2005"/>
                  </a:cubicBezTo>
                  <a:cubicBezTo>
                    <a:pt x="1570" y="2018"/>
                    <a:pt x="1557" y="2044"/>
                    <a:pt x="1524" y="2044"/>
                  </a:cubicBezTo>
                  <a:cubicBezTo>
                    <a:pt x="1497" y="2044"/>
                    <a:pt x="1484" y="2018"/>
                    <a:pt x="1458" y="2011"/>
                  </a:cubicBezTo>
                  <a:cubicBezTo>
                    <a:pt x="1411" y="2005"/>
                    <a:pt x="1379" y="2005"/>
                    <a:pt x="1326" y="2005"/>
                  </a:cubicBezTo>
                  <a:cubicBezTo>
                    <a:pt x="1286" y="2005"/>
                    <a:pt x="1260" y="2011"/>
                    <a:pt x="1220" y="2011"/>
                  </a:cubicBezTo>
                  <a:cubicBezTo>
                    <a:pt x="1187" y="2011"/>
                    <a:pt x="1167" y="2011"/>
                    <a:pt x="1141" y="2011"/>
                  </a:cubicBezTo>
                  <a:cubicBezTo>
                    <a:pt x="1108" y="2011"/>
                    <a:pt x="1088" y="2011"/>
                    <a:pt x="1062" y="1998"/>
                  </a:cubicBezTo>
                  <a:cubicBezTo>
                    <a:pt x="1036" y="1985"/>
                    <a:pt x="1029" y="1952"/>
                    <a:pt x="996" y="1952"/>
                  </a:cubicBezTo>
                  <a:cubicBezTo>
                    <a:pt x="970" y="1952"/>
                    <a:pt x="956" y="1978"/>
                    <a:pt x="930" y="1991"/>
                  </a:cubicBezTo>
                  <a:cubicBezTo>
                    <a:pt x="904" y="2005"/>
                    <a:pt x="884" y="2011"/>
                    <a:pt x="851" y="2024"/>
                  </a:cubicBezTo>
                  <a:cubicBezTo>
                    <a:pt x="825" y="2044"/>
                    <a:pt x="818" y="2071"/>
                    <a:pt x="792" y="2090"/>
                  </a:cubicBezTo>
                  <a:cubicBezTo>
                    <a:pt x="785" y="2057"/>
                    <a:pt x="778" y="2018"/>
                    <a:pt x="745" y="2018"/>
                  </a:cubicBezTo>
                  <a:cubicBezTo>
                    <a:pt x="726" y="2018"/>
                    <a:pt x="719" y="2044"/>
                    <a:pt x="699" y="2051"/>
                  </a:cubicBezTo>
                  <a:cubicBezTo>
                    <a:pt x="633" y="2071"/>
                    <a:pt x="587" y="2084"/>
                    <a:pt x="521" y="2110"/>
                  </a:cubicBezTo>
                  <a:cubicBezTo>
                    <a:pt x="468" y="2110"/>
                    <a:pt x="435" y="2117"/>
                    <a:pt x="376" y="2123"/>
                  </a:cubicBezTo>
                  <a:cubicBezTo>
                    <a:pt x="356" y="2130"/>
                    <a:pt x="337" y="2130"/>
                    <a:pt x="317" y="2143"/>
                  </a:cubicBezTo>
                  <a:cubicBezTo>
                    <a:pt x="303" y="2150"/>
                    <a:pt x="303" y="2163"/>
                    <a:pt x="290" y="2183"/>
                  </a:cubicBezTo>
                  <a:cubicBezTo>
                    <a:pt x="284" y="2202"/>
                    <a:pt x="270" y="2216"/>
                    <a:pt x="257" y="2235"/>
                  </a:cubicBezTo>
                  <a:cubicBezTo>
                    <a:pt x="244" y="2268"/>
                    <a:pt x="231" y="2282"/>
                    <a:pt x="205" y="2301"/>
                  </a:cubicBezTo>
                  <a:cubicBezTo>
                    <a:pt x="185" y="2308"/>
                    <a:pt x="185" y="2328"/>
                    <a:pt x="165" y="2334"/>
                  </a:cubicBezTo>
                  <a:cubicBezTo>
                    <a:pt x="145" y="2341"/>
                    <a:pt x="132" y="2334"/>
                    <a:pt x="125" y="2341"/>
                  </a:cubicBezTo>
                  <a:cubicBezTo>
                    <a:pt x="86" y="2367"/>
                    <a:pt x="79" y="2400"/>
                    <a:pt x="73" y="2446"/>
                  </a:cubicBezTo>
                  <a:lnTo>
                    <a:pt x="73" y="2446"/>
                  </a:lnTo>
                  <a:cubicBezTo>
                    <a:pt x="20" y="2493"/>
                    <a:pt x="0" y="2539"/>
                    <a:pt x="0" y="2605"/>
                  </a:cubicBezTo>
                  <a:cubicBezTo>
                    <a:pt x="0" y="2644"/>
                    <a:pt x="20" y="2664"/>
                    <a:pt x="13" y="2704"/>
                  </a:cubicBezTo>
                  <a:lnTo>
                    <a:pt x="13" y="2704"/>
                  </a:lnTo>
                  <a:cubicBezTo>
                    <a:pt x="46" y="2664"/>
                    <a:pt x="79" y="2638"/>
                    <a:pt x="132" y="2638"/>
                  </a:cubicBezTo>
                  <a:cubicBezTo>
                    <a:pt x="158" y="2638"/>
                    <a:pt x="178" y="2651"/>
                    <a:pt x="198" y="2664"/>
                  </a:cubicBezTo>
                  <a:cubicBezTo>
                    <a:pt x="257" y="2691"/>
                    <a:pt x="297" y="2691"/>
                    <a:pt x="356" y="2697"/>
                  </a:cubicBezTo>
                  <a:cubicBezTo>
                    <a:pt x="429" y="2697"/>
                    <a:pt x="468" y="2691"/>
                    <a:pt x="541" y="2691"/>
                  </a:cubicBezTo>
                  <a:cubicBezTo>
                    <a:pt x="587" y="2691"/>
                    <a:pt x="613" y="2691"/>
                    <a:pt x="660" y="2697"/>
                  </a:cubicBezTo>
                  <a:cubicBezTo>
                    <a:pt x="680" y="2704"/>
                    <a:pt x="693" y="2710"/>
                    <a:pt x="712" y="2710"/>
                  </a:cubicBezTo>
                  <a:cubicBezTo>
                    <a:pt x="739" y="2724"/>
                    <a:pt x="759" y="2750"/>
                    <a:pt x="759" y="2783"/>
                  </a:cubicBezTo>
                  <a:cubicBezTo>
                    <a:pt x="759" y="2823"/>
                    <a:pt x="739" y="2842"/>
                    <a:pt x="739" y="2882"/>
                  </a:cubicBezTo>
                  <a:cubicBezTo>
                    <a:pt x="739" y="2895"/>
                    <a:pt x="752" y="2902"/>
                    <a:pt x="759" y="2915"/>
                  </a:cubicBezTo>
                  <a:cubicBezTo>
                    <a:pt x="765" y="2928"/>
                    <a:pt x="772" y="2948"/>
                    <a:pt x="792" y="2948"/>
                  </a:cubicBezTo>
                  <a:cubicBezTo>
                    <a:pt x="825" y="2948"/>
                    <a:pt x="838" y="2902"/>
                    <a:pt x="871" y="2902"/>
                  </a:cubicBezTo>
                  <a:cubicBezTo>
                    <a:pt x="910" y="2902"/>
                    <a:pt x="917" y="2941"/>
                    <a:pt x="930" y="2974"/>
                  </a:cubicBezTo>
                  <a:cubicBezTo>
                    <a:pt x="1042" y="2908"/>
                    <a:pt x="1121" y="2882"/>
                    <a:pt x="1247" y="2882"/>
                  </a:cubicBezTo>
                  <a:cubicBezTo>
                    <a:pt x="1286" y="2882"/>
                    <a:pt x="1313" y="2895"/>
                    <a:pt x="1352" y="2895"/>
                  </a:cubicBezTo>
                  <a:cubicBezTo>
                    <a:pt x="1398" y="2895"/>
                    <a:pt x="1411" y="2849"/>
                    <a:pt x="1458" y="2849"/>
                  </a:cubicBezTo>
                  <a:cubicBezTo>
                    <a:pt x="1484" y="2849"/>
                    <a:pt x="1497" y="2862"/>
                    <a:pt x="1524" y="2862"/>
                  </a:cubicBezTo>
                  <a:cubicBezTo>
                    <a:pt x="1563" y="2862"/>
                    <a:pt x="1590" y="2849"/>
                    <a:pt x="1629" y="2849"/>
                  </a:cubicBezTo>
                  <a:cubicBezTo>
                    <a:pt x="1695" y="2849"/>
                    <a:pt x="1741" y="2915"/>
                    <a:pt x="1741" y="2981"/>
                  </a:cubicBezTo>
                  <a:cubicBezTo>
                    <a:pt x="1741" y="3020"/>
                    <a:pt x="1741" y="3034"/>
                    <a:pt x="1741" y="3073"/>
                  </a:cubicBezTo>
                  <a:cubicBezTo>
                    <a:pt x="1741" y="3093"/>
                    <a:pt x="1761" y="3106"/>
                    <a:pt x="1761" y="3126"/>
                  </a:cubicBezTo>
                  <a:cubicBezTo>
                    <a:pt x="1761" y="3198"/>
                    <a:pt x="1735" y="3238"/>
                    <a:pt x="1735" y="3304"/>
                  </a:cubicBezTo>
                  <a:cubicBezTo>
                    <a:pt x="1735" y="3363"/>
                    <a:pt x="1748" y="3396"/>
                    <a:pt x="1761" y="3449"/>
                  </a:cubicBezTo>
                  <a:cubicBezTo>
                    <a:pt x="1788" y="3502"/>
                    <a:pt x="1807" y="3541"/>
                    <a:pt x="1860" y="3548"/>
                  </a:cubicBezTo>
                  <a:cubicBezTo>
                    <a:pt x="1913" y="3554"/>
                    <a:pt x="1959" y="3535"/>
                    <a:pt x="1992" y="3574"/>
                  </a:cubicBezTo>
                  <a:cubicBezTo>
                    <a:pt x="2025" y="3607"/>
                    <a:pt x="2018" y="3647"/>
                    <a:pt x="2025" y="3693"/>
                  </a:cubicBezTo>
                  <a:cubicBezTo>
                    <a:pt x="1893" y="4029"/>
                    <a:pt x="1893" y="4029"/>
                    <a:pt x="1893" y="4029"/>
                  </a:cubicBezTo>
                  <a:cubicBezTo>
                    <a:pt x="1906" y="4056"/>
                    <a:pt x="1933" y="4062"/>
                    <a:pt x="1959" y="4076"/>
                  </a:cubicBezTo>
                  <a:cubicBezTo>
                    <a:pt x="1992" y="4095"/>
                    <a:pt x="1999" y="4128"/>
                    <a:pt x="1999" y="4161"/>
                  </a:cubicBezTo>
                  <a:cubicBezTo>
                    <a:pt x="1999" y="4194"/>
                    <a:pt x="1999" y="4214"/>
                    <a:pt x="1999" y="4247"/>
                  </a:cubicBezTo>
                  <a:cubicBezTo>
                    <a:pt x="1999" y="4320"/>
                    <a:pt x="2097" y="4339"/>
                    <a:pt x="2170" y="4339"/>
                  </a:cubicBezTo>
                  <a:cubicBezTo>
                    <a:pt x="2243" y="4339"/>
                    <a:pt x="2229" y="4201"/>
                    <a:pt x="2309" y="4201"/>
                  </a:cubicBezTo>
                  <a:cubicBezTo>
                    <a:pt x="2315" y="4201"/>
                    <a:pt x="2322" y="4221"/>
                    <a:pt x="2328" y="4227"/>
                  </a:cubicBezTo>
                  <a:cubicBezTo>
                    <a:pt x="2348" y="4234"/>
                    <a:pt x="2361" y="4234"/>
                    <a:pt x="2388" y="4234"/>
                  </a:cubicBezTo>
                  <a:cubicBezTo>
                    <a:pt x="2454" y="4234"/>
                    <a:pt x="2487" y="4188"/>
                    <a:pt x="2553" y="4188"/>
                  </a:cubicBezTo>
                  <a:cubicBezTo>
                    <a:pt x="2592" y="4188"/>
                    <a:pt x="2612" y="4188"/>
                    <a:pt x="2652" y="4188"/>
                  </a:cubicBezTo>
                  <a:cubicBezTo>
                    <a:pt x="2698" y="4188"/>
                    <a:pt x="2737" y="4201"/>
                    <a:pt x="2783" y="4201"/>
                  </a:cubicBezTo>
                  <a:lnTo>
                    <a:pt x="2783" y="4201"/>
                  </a:lnTo>
                  <a:cubicBezTo>
                    <a:pt x="2856" y="4161"/>
                    <a:pt x="2902" y="4142"/>
                    <a:pt x="2981" y="4128"/>
                  </a:cubicBezTo>
                  <a:cubicBezTo>
                    <a:pt x="3113" y="4095"/>
                    <a:pt x="3192" y="4069"/>
                    <a:pt x="3331" y="4069"/>
                  </a:cubicBezTo>
                  <a:cubicBezTo>
                    <a:pt x="3450" y="4069"/>
                    <a:pt x="3522" y="4069"/>
                    <a:pt x="3648" y="4069"/>
                  </a:cubicBezTo>
                  <a:cubicBezTo>
                    <a:pt x="3694" y="4069"/>
                    <a:pt x="3727" y="4056"/>
                    <a:pt x="3773" y="4043"/>
                  </a:cubicBezTo>
                  <a:cubicBezTo>
                    <a:pt x="3826" y="4029"/>
                    <a:pt x="3872" y="4036"/>
                    <a:pt x="3911" y="3996"/>
                  </a:cubicBezTo>
                  <a:cubicBezTo>
                    <a:pt x="3951" y="3950"/>
                    <a:pt x="3938" y="3897"/>
                    <a:pt x="3971" y="3845"/>
                  </a:cubicBezTo>
                  <a:cubicBezTo>
                    <a:pt x="3991" y="3799"/>
                    <a:pt x="4004" y="3766"/>
                    <a:pt x="4023" y="3720"/>
                  </a:cubicBezTo>
                  <a:cubicBezTo>
                    <a:pt x="4043" y="3667"/>
                    <a:pt x="4043" y="3627"/>
                    <a:pt x="4090" y="3601"/>
                  </a:cubicBezTo>
                  <a:cubicBezTo>
                    <a:pt x="4142" y="3568"/>
                    <a:pt x="4182" y="3574"/>
                    <a:pt x="4241" y="3554"/>
                  </a:cubicBezTo>
                  <a:lnTo>
                    <a:pt x="4241" y="3554"/>
                  </a:lnTo>
                  <a:cubicBezTo>
                    <a:pt x="4248" y="3508"/>
                    <a:pt x="4281" y="3462"/>
                    <a:pt x="4281" y="3416"/>
                  </a:cubicBezTo>
                  <a:cubicBezTo>
                    <a:pt x="4281" y="3390"/>
                    <a:pt x="4281" y="3377"/>
                    <a:pt x="4281" y="3343"/>
                  </a:cubicBezTo>
                  <a:cubicBezTo>
                    <a:pt x="4281" y="3284"/>
                    <a:pt x="4340" y="3258"/>
                    <a:pt x="4386" y="3218"/>
                  </a:cubicBezTo>
                  <a:cubicBezTo>
                    <a:pt x="4426" y="3192"/>
                    <a:pt x="4439" y="3165"/>
                    <a:pt x="4479" y="3146"/>
                  </a:cubicBezTo>
                  <a:cubicBezTo>
                    <a:pt x="4538" y="3126"/>
                    <a:pt x="4571" y="3126"/>
                    <a:pt x="4617" y="3093"/>
                  </a:cubicBezTo>
                  <a:cubicBezTo>
                    <a:pt x="4663" y="3060"/>
                    <a:pt x="4663" y="3020"/>
                    <a:pt x="4696" y="2974"/>
                  </a:cubicBezTo>
                  <a:cubicBezTo>
                    <a:pt x="4743" y="2928"/>
                    <a:pt x="4749" y="2882"/>
                    <a:pt x="4762" y="2816"/>
                  </a:cubicBezTo>
                  <a:cubicBezTo>
                    <a:pt x="4776" y="2763"/>
                    <a:pt x="4795" y="2737"/>
                    <a:pt x="4795" y="2684"/>
                  </a:cubicBezTo>
                  <a:cubicBezTo>
                    <a:pt x="4795" y="2664"/>
                    <a:pt x="4789" y="2651"/>
                    <a:pt x="4782" y="2631"/>
                  </a:cubicBezTo>
                  <a:cubicBezTo>
                    <a:pt x="4802" y="2618"/>
                    <a:pt x="4802" y="2611"/>
                    <a:pt x="4815" y="2605"/>
                  </a:cubicBezTo>
                  <a:cubicBezTo>
                    <a:pt x="4841" y="2592"/>
                    <a:pt x="4875" y="2585"/>
                    <a:pt x="4875" y="2559"/>
                  </a:cubicBezTo>
                  <a:cubicBezTo>
                    <a:pt x="4875" y="2512"/>
                    <a:pt x="4835" y="2499"/>
                    <a:pt x="4835" y="2453"/>
                  </a:cubicBezTo>
                  <a:cubicBezTo>
                    <a:pt x="4835" y="2427"/>
                    <a:pt x="4868" y="2427"/>
                    <a:pt x="4881" y="2407"/>
                  </a:cubicBezTo>
                  <a:cubicBezTo>
                    <a:pt x="4894" y="2381"/>
                    <a:pt x="4907" y="2367"/>
                    <a:pt x="4921" y="2334"/>
                  </a:cubicBezTo>
                  <a:cubicBezTo>
                    <a:pt x="4934" y="2282"/>
                    <a:pt x="4947" y="2255"/>
                    <a:pt x="4980" y="2209"/>
                  </a:cubicBezTo>
                  <a:cubicBezTo>
                    <a:pt x="5000" y="2176"/>
                    <a:pt x="5033" y="2176"/>
                    <a:pt x="5072" y="2169"/>
                  </a:cubicBezTo>
                  <a:cubicBezTo>
                    <a:pt x="5132" y="2156"/>
                    <a:pt x="5132" y="2150"/>
                    <a:pt x="5191" y="2143"/>
                  </a:cubicBezTo>
                  <a:lnTo>
                    <a:pt x="5191" y="2143"/>
                  </a:lnTo>
                  <a:cubicBezTo>
                    <a:pt x="5191" y="2130"/>
                    <a:pt x="5184" y="2137"/>
                    <a:pt x="5184" y="2123"/>
                  </a:cubicBezTo>
                  <a:cubicBezTo>
                    <a:pt x="5184" y="2051"/>
                    <a:pt x="5257" y="2018"/>
                    <a:pt x="5257" y="1939"/>
                  </a:cubicBezTo>
                  <a:cubicBezTo>
                    <a:pt x="5257" y="1912"/>
                    <a:pt x="5244" y="1899"/>
                    <a:pt x="5244" y="1879"/>
                  </a:cubicBezTo>
                  <a:cubicBezTo>
                    <a:pt x="5244" y="1827"/>
                    <a:pt x="5290" y="1813"/>
                    <a:pt x="5303" y="1767"/>
                  </a:cubicBezTo>
                  <a:cubicBezTo>
                    <a:pt x="5336" y="1668"/>
                    <a:pt x="5330" y="1609"/>
                    <a:pt x="5369" y="1516"/>
                  </a:cubicBezTo>
                  <a:cubicBezTo>
                    <a:pt x="5409" y="1424"/>
                    <a:pt x="5468" y="1378"/>
                    <a:pt x="5468" y="1279"/>
                  </a:cubicBezTo>
                  <a:cubicBezTo>
                    <a:pt x="5468" y="1187"/>
                    <a:pt x="5389" y="1154"/>
                    <a:pt x="5330" y="1081"/>
                  </a:cubicBezTo>
                  <a:cubicBezTo>
                    <a:pt x="5297" y="1048"/>
                    <a:pt x="5283" y="1009"/>
                    <a:pt x="5231" y="1002"/>
                  </a:cubicBezTo>
                  <a:cubicBezTo>
                    <a:pt x="5178" y="989"/>
                    <a:pt x="5145" y="1009"/>
                    <a:pt x="5092" y="982"/>
                  </a:cubicBezTo>
                  <a:cubicBezTo>
                    <a:pt x="5059" y="969"/>
                    <a:pt x="5039" y="949"/>
                    <a:pt x="5000" y="949"/>
                  </a:cubicBezTo>
                  <a:cubicBezTo>
                    <a:pt x="4954" y="949"/>
                    <a:pt x="4934" y="976"/>
                    <a:pt x="4888" y="976"/>
                  </a:cubicBezTo>
                  <a:cubicBezTo>
                    <a:pt x="4875" y="976"/>
                    <a:pt x="4875" y="956"/>
                    <a:pt x="4868" y="936"/>
                  </a:cubicBezTo>
                  <a:cubicBezTo>
                    <a:pt x="4861" y="903"/>
                    <a:pt x="4848" y="890"/>
                    <a:pt x="4828" y="863"/>
                  </a:cubicBezTo>
                  <a:cubicBezTo>
                    <a:pt x="4795" y="811"/>
                    <a:pt x="4776" y="771"/>
                    <a:pt x="4729" y="725"/>
                  </a:cubicBezTo>
                  <a:cubicBezTo>
                    <a:pt x="4683" y="672"/>
                    <a:pt x="4624" y="692"/>
                    <a:pt x="4558" y="666"/>
                  </a:cubicBezTo>
                  <a:cubicBezTo>
                    <a:pt x="4518" y="652"/>
                    <a:pt x="4498" y="639"/>
                    <a:pt x="4459" y="626"/>
                  </a:cubicBezTo>
                  <a:cubicBezTo>
                    <a:pt x="4433" y="613"/>
                    <a:pt x="4413" y="593"/>
                    <a:pt x="4386" y="587"/>
                  </a:cubicBezTo>
                  <a:cubicBezTo>
                    <a:pt x="4366" y="573"/>
                    <a:pt x="4347" y="573"/>
                    <a:pt x="4334" y="554"/>
                  </a:cubicBezTo>
                  <a:cubicBezTo>
                    <a:pt x="4314" y="527"/>
                    <a:pt x="4314" y="501"/>
                    <a:pt x="4287" y="474"/>
                  </a:cubicBezTo>
                  <a:cubicBezTo>
                    <a:pt x="4208" y="395"/>
                    <a:pt x="4149" y="369"/>
                    <a:pt x="4057" y="329"/>
                  </a:cubicBezTo>
                  <a:cubicBezTo>
                    <a:pt x="4017" y="309"/>
                    <a:pt x="4004" y="270"/>
                    <a:pt x="3964" y="270"/>
                  </a:cubicBezTo>
                  <a:cubicBezTo>
                    <a:pt x="3905" y="270"/>
                    <a:pt x="3878" y="316"/>
                    <a:pt x="3826" y="316"/>
                  </a:cubicBezTo>
                  <a:cubicBezTo>
                    <a:pt x="3786" y="316"/>
                    <a:pt x="3773" y="276"/>
                    <a:pt x="3733" y="257"/>
                  </a:cubicBezTo>
                  <a:cubicBezTo>
                    <a:pt x="3707" y="237"/>
                    <a:pt x="3661" y="237"/>
                    <a:pt x="3661" y="204"/>
                  </a:cubicBezTo>
                  <a:cubicBezTo>
                    <a:pt x="3661" y="171"/>
                    <a:pt x="3667" y="145"/>
                    <a:pt x="3680" y="118"/>
                  </a:cubicBezTo>
                  <a:cubicBezTo>
                    <a:pt x="3687" y="92"/>
                    <a:pt x="3707" y="85"/>
                    <a:pt x="3707" y="59"/>
                  </a:cubicBezTo>
                  <a:cubicBezTo>
                    <a:pt x="3707" y="33"/>
                    <a:pt x="3674" y="33"/>
                    <a:pt x="3648" y="26"/>
                  </a:cubicBezTo>
                  <a:cubicBezTo>
                    <a:pt x="3628" y="19"/>
                    <a:pt x="3615" y="0"/>
                    <a:pt x="3595" y="0"/>
                  </a:cubicBezTo>
                  <a:cubicBezTo>
                    <a:pt x="3562" y="0"/>
                    <a:pt x="3542" y="0"/>
                    <a:pt x="3509" y="0"/>
                  </a:cubicBezTo>
                  <a:cubicBezTo>
                    <a:pt x="3483" y="0"/>
                    <a:pt x="3469" y="19"/>
                    <a:pt x="3436" y="19"/>
                  </a:cubicBezTo>
                  <a:cubicBezTo>
                    <a:pt x="3410" y="19"/>
                    <a:pt x="3397" y="19"/>
                    <a:pt x="3371" y="19"/>
                  </a:cubicBezTo>
                  <a:cubicBezTo>
                    <a:pt x="3344" y="19"/>
                    <a:pt x="3331" y="39"/>
                    <a:pt x="3305" y="59"/>
                  </a:cubicBezTo>
                  <a:cubicBezTo>
                    <a:pt x="3265" y="85"/>
                    <a:pt x="3245" y="105"/>
                    <a:pt x="3212" y="132"/>
                  </a:cubicBezTo>
                  <a:cubicBezTo>
                    <a:pt x="3146" y="191"/>
                    <a:pt x="3100" y="197"/>
                    <a:pt x="3028" y="230"/>
                  </a:cubicBezTo>
                  <a:cubicBezTo>
                    <a:pt x="2909" y="276"/>
                    <a:pt x="2856" y="343"/>
                    <a:pt x="2737" y="369"/>
                  </a:cubicBezTo>
                  <a:cubicBezTo>
                    <a:pt x="2704" y="375"/>
                    <a:pt x="2691" y="402"/>
                    <a:pt x="2658" y="402"/>
                  </a:cubicBezTo>
                  <a:cubicBezTo>
                    <a:pt x="2586" y="402"/>
                    <a:pt x="2572" y="329"/>
                    <a:pt x="2546" y="257"/>
                  </a:cubicBezTo>
                  <a:lnTo>
                    <a:pt x="2546" y="257"/>
                  </a:lnTo>
                  <a:cubicBezTo>
                    <a:pt x="2474" y="257"/>
                    <a:pt x="2434" y="230"/>
                    <a:pt x="2361" y="230"/>
                  </a:cubicBezTo>
                  <a:cubicBezTo>
                    <a:pt x="2289" y="230"/>
                    <a:pt x="2249" y="276"/>
                    <a:pt x="2216" y="336"/>
                  </a:cubicBezTo>
                  <a:cubicBezTo>
                    <a:pt x="2183" y="395"/>
                    <a:pt x="2150" y="428"/>
                    <a:pt x="2131" y="494"/>
                  </a:cubicBezTo>
                  <a:cubicBezTo>
                    <a:pt x="2131" y="507"/>
                    <a:pt x="2117" y="507"/>
                    <a:pt x="2111" y="520"/>
                  </a:cubicBezTo>
                  <a:cubicBezTo>
                    <a:pt x="2084" y="593"/>
                    <a:pt x="2091" y="646"/>
                    <a:pt x="2058" y="718"/>
                  </a:cubicBezTo>
                  <a:cubicBezTo>
                    <a:pt x="2045" y="738"/>
                    <a:pt x="2032" y="751"/>
                    <a:pt x="2018" y="771"/>
                  </a:cubicBezTo>
                  <a:cubicBezTo>
                    <a:pt x="2005" y="791"/>
                    <a:pt x="2005" y="811"/>
                    <a:pt x="1985" y="81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5" name="Freeform 41"/>
            <p:cNvSpPr>
              <a:spLocks noChangeArrowheads="1"/>
            </p:cNvSpPr>
            <p:nvPr/>
          </p:nvSpPr>
          <p:spPr bwMode="auto">
            <a:xfrm>
              <a:off x="6705958" y="8501057"/>
              <a:ext cx="1068318" cy="774700"/>
            </a:xfrm>
            <a:custGeom>
              <a:avLst/>
              <a:gdLst>
                <a:gd name="T0" fmla="*/ 738 w 2968"/>
                <a:gd name="T1" fmla="*/ 6 h 2151"/>
                <a:gd name="T2" fmla="*/ 481 w 2968"/>
                <a:gd name="T3" fmla="*/ 277 h 2151"/>
                <a:gd name="T4" fmla="*/ 310 w 2968"/>
                <a:gd name="T5" fmla="*/ 501 h 2151"/>
                <a:gd name="T6" fmla="*/ 159 w 2968"/>
                <a:gd name="T7" fmla="*/ 712 h 2151"/>
                <a:gd name="T8" fmla="*/ 139 w 2968"/>
                <a:gd name="T9" fmla="*/ 804 h 2151"/>
                <a:gd name="T10" fmla="*/ 33 w 2968"/>
                <a:gd name="T11" fmla="*/ 1391 h 2151"/>
                <a:gd name="T12" fmla="*/ 13 w 2968"/>
                <a:gd name="T13" fmla="*/ 1444 h 2151"/>
                <a:gd name="T14" fmla="*/ 7 w 2968"/>
                <a:gd name="T15" fmla="*/ 1503 h 2151"/>
                <a:gd name="T16" fmla="*/ 86 w 2968"/>
                <a:gd name="T17" fmla="*/ 1510 h 2151"/>
                <a:gd name="T18" fmla="*/ 224 w 2968"/>
                <a:gd name="T19" fmla="*/ 1484 h 2151"/>
                <a:gd name="T20" fmla="*/ 284 w 2968"/>
                <a:gd name="T21" fmla="*/ 1537 h 2151"/>
                <a:gd name="T22" fmla="*/ 363 w 2968"/>
                <a:gd name="T23" fmla="*/ 1741 h 2151"/>
                <a:gd name="T24" fmla="*/ 330 w 2968"/>
                <a:gd name="T25" fmla="*/ 1866 h 2151"/>
                <a:gd name="T26" fmla="*/ 455 w 2968"/>
                <a:gd name="T27" fmla="*/ 1873 h 2151"/>
                <a:gd name="T28" fmla="*/ 632 w 2968"/>
                <a:gd name="T29" fmla="*/ 1893 h 2151"/>
                <a:gd name="T30" fmla="*/ 857 w 2968"/>
                <a:gd name="T31" fmla="*/ 1932 h 2151"/>
                <a:gd name="T32" fmla="*/ 1226 w 2968"/>
                <a:gd name="T33" fmla="*/ 2071 h 2151"/>
                <a:gd name="T34" fmla="*/ 1358 w 2968"/>
                <a:gd name="T35" fmla="*/ 2150 h 2151"/>
                <a:gd name="T36" fmla="*/ 1463 w 2968"/>
                <a:gd name="T37" fmla="*/ 1978 h 2151"/>
                <a:gd name="T38" fmla="*/ 1734 w 2968"/>
                <a:gd name="T39" fmla="*/ 1813 h 2151"/>
                <a:gd name="T40" fmla="*/ 2321 w 2968"/>
                <a:gd name="T41" fmla="*/ 1932 h 2151"/>
                <a:gd name="T42" fmla="*/ 2631 w 2968"/>
                <a:gd name="T43" fmla="*/ 1945 h 2151"/>
                <a:gd name="T44" fmla="*/ 2664 w 2968"/>
                <a:gd name="T45" fmla="*/ 1906 h 2151"/>
                <a:gd name="T46" fmla="*/ 2750 w 2968"/>
                <a:gd name="T47" fmla="*/ 1721 h 2151"/>
                <a:gd name="T48" fmla="*/ 2763 w 2968"/>
                <a:gd name="T49" fmla="*/ 1602 h 2151"/>
                <a:gd name="T50" fmla="*/ 2895 w 2968"/>
                <a:gd name="T51" fmla="*/ 1583 h 2151"/>
                <a:gd name="T52" fmla="*/ 2967 w 2968"/>
                <a:gd name="T53" fmla="*/ 1569 h 2151"/>
                <a:gd name="T54" fmla="*/ 2842 w 2968"/>
                <a:gd name="T55" fmla="*/ 1405 h 2151"/>
                <a:gd name="T56" fmla="*/ 2756 w 2968"/>
                <a:gd name="T57" fmla="*/ 1411 h 2151"/>
                <a:gd name="T58" fmla="*/ 2684 w 2968"/>
                <a:gd name="T59" fmla="*/ 1180 h 2151"/>
                <a:gd name="T60" fmla="*/ 2446 w 2968"/>
                <a:gd name="T61" fmla="*/ 1154 h 2151"/>
                <a:gd name="T62" fmla="*/ 2440 w 2968"/>
                <a:gd name="T63" fmla="*/ 1028 h 2151"/>
                <a:gd name="T64" fmla="*/ 2374 w 2968"/>
                <a:gd name="T65" fmla="*/ 745 h 2151"/>
                <a:gd name="T66" fmla="*/ 2400 w 2968"/>
                <a:gd name="T67" fmla="*/ 633 h 2151"/>
                <a:gd name="T68" fmla="*/ 2387 w 2968"/>
                <a:gd name="T69" fmla="*/ 521 h 2151"/>
                <a:gd name="T70" fmla="*/ 2361 w 2968"/>
                <a:gd name="T71" fmla="*/ 409 h 2151"/>
                <a:gd name="T72" fmla="*/ 2235 w 2968"/>
                <a:gd name="T73" fmla="*/ 303 h 2151"/>
                <a:gd name="T74" fmla="*/ 2018 w 2968"/>
                <a:gd name="T75" fmla="*/ 244 h 2151"/>
                <a:gd name="T76" fmla="*/ 1833 w 2968"/>
                <a:gd name="T77" fmla="*/ 244 h 2151"/>
                <a:gd name="T78" fmla="*/ 1741 w 2968"/>
                <a:gd name="T79" fmla="*/ 125 h 2151"/>
                <a:gd name="T80" fmla="*/ 1411 w 2968"/>
                <a:gd name="T81" fmla="*/ 19 h 2151"/>
                <a:gd name="T82" fmla="*/ 1239 w 2968"/>
                <a:gd name="T83" fmla="*/ 0 h 2151"/>
                <a:gd name="T84" fmla="*/ 1088 w 2968"/>
                <a:gd name="T85" fmla="*/ 46 h 2151"/>
                <a:gd name="T86" fmla="*/ 929 w 2968"/>
                <a:gd name="T87" fmla="*/ 26 h 2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968" h="2151">
                  <a:moveTo>
                    <a:pt x="738" y="6"/>
                  </a:moveTo>
                  <a:lnTo>
                    <a:pt x="738" y="6"/>
                  </a:lnTo>
                  <a:cubicBezTo>
                    <a:pt x="672" y="79"/>
                    <a:pt x="613" y="99"/>
                    <a:pt x="534" y="151"/>
                  </a:cubicBezTo>
                  <a:cubicBezTo>
                    <a:pt x="487" y="178"/>
                    <a:pt x="487" y="224"/>
                    <a:pt x="481" y="277"/>
                  </a:cubicBezTo>
                  <a:cubicBezTo>
                    <a:pt x="474" y="316"/>
                    <a:pt x="462" y="336"/>
                    <a:pt x="449" y="376"/>
                  </a:cubicBezTo>
                  <a:cubicBezTo>
                    <a:pt x="416" y="442"/>
                    <a:pt x="363" y="448"/>
                    <a:pt x="310" y="501"/>
                  </a:cubicBezTo>
                  <a:cubicBezTo>
                    <a:pt x="284" y="534"/>
                    <a:pt x="290" y="560"/>
                    <a:pt x="264" y="593"/>
                  </a:cubicBezTo>
                  <a:cubicBezTo>
                    <a:pt x="218" y="640"/>
                    <a:pt x="178" y="653"/>
                    <a:pt x="159" y="712"/>
                  </a:cubicBezTo>
                  <a:cubicBezTo>
                    <a:pt x="152" y="752"/>
                    <a:pt x="145" y="765"/>
                    <a:pt x="139" y="804"/>
                  </a:cubicBezTo>
                  <a:lnTo>
                    <a:pt x="139" y="804"/>
                  </a:lnTo>
                  <a:cubicBezTo>
                    <a:pt x="33" y="1391"/>
                    <a:pt x="33" y="1391"/>
                    <a:pt x="33" y="1391"/>
                  </a:cubicBezTo>
                  <a:lnTo>
                    <a:pt x="33" y="1391"/>
                  </a:lnTo>
                  <a:cubicBezTo>
                    <a:pt x="33" y="1398"/>
                    <a:pt x="27" y="1405"/>
                    <a:pt x="27" y="1411"/>
                  </a:cubicBezTo>
                  <a:cubicBezTo>
                    <a:pt x="20" y="1424"/>
                    <a:pt x="13" y="1431"/>
                    <a:pt x="13" y="1444"/>
                  </a:cubicBezTo>
                  <a:cubicBezTo>
                    <a:pt x="7" y="1457"/>
                    <a:pt x="0" y="1464"/>
                    <a:pt x="0" y="1470"/>
                  </a:cubicBezTo>
                  <a:cubicBezTo>
                    <a:pt x="0" y="1484"/>
                    <a:pt x="7" y="1497"/>
                    <a:pt x="7" y="1503"/>
                  </a:cubicBezTo>
                  <a:lnTo>
                    <a:pt x="7" y="1503"/>
                  </a:lnTo>
                  <a:cubicBezTo>
                    <a:pt x="33" y="1503"/>
                    <a:pt x="60" y="1510"/>
                    <a:pt x="86" y="1510"/>
                  </a:cubicBezTo>
                  <a:cubicBezTo>
                    <a:pt x="132" y="1497"/>
                    <a:pt x="159" y="1477"/>
                    <a:pt x="205" y="1477"/>
                  </a:cubicBezTo>
                  <a:cubicBezTo>
                    <a:pt x="211" y="1477"/>
                    <a:pt x="218" y="1477"/>
                    <a:pt x="224" y="1484"/>
                  </a:cubicBezTo>
                  <a:cubicBezTo>
                    <a:pt x="231" y="1490"/>
                    <a:pt x="238" y="1497"/>
                    <a:pt x="244" y="1503"/>
                  </a:cubicBezTo>
                  <a:cubicBezTo>
                    <a:pt x="251" y="1523"/>
                    <a:pt x="277" y="1517"/>
                    <a:pt x="284" y="1537"/>
                  </a:cubicBezTo>
                  <a:cubicBezTo>
                    <a:pt x="290" y="1556"/>
                    <a:pt x="290" y="1576"/>
                    <a:pt x="297" y="1602"/>
                  </a:cubicBezTo>
                  <a:cubicBezTo>
                    <a:pt x="317" y="1662"/>
                    <a:pt x="363" y="1682"/>
                    <a:pt x="363" y="1741"/>
                  </a:cubicBezTo>
                  <a:cubicBezTo>
                    <a:pt x="363" y="1794"/>
                    <a:pt x="343" y="1827"/>
                    <a:pt x="330" y="1866"/>
                  </a:cubicBezTo>
                  <a:lnTo>
                    <a:pt x="330" y="1866"/>
                  </a:lnTo>
                  <a:cubicBezTo>
                    <a:pt x="350" y="1866"/>
                    <a:pt x="363" y="1873"/>
                    <a:pt x="376" y="1873"/>
                  </a:cubicBezTo>
                  <a:cubicBezTo>
                    <a:pt x="409" y="1873"/>
                    <a:pt x="422" y="1873"/>
                    <a:pt x="455" y="1873"/>
                  </a:cubicBezTo>
                  <a:cubicBezTo>
                    <a:pt x="494" y="1873"/>
                    <a:pt x="507" y="1840"/>
                    <a:pt x="547" y="1840"/>
                  </a:cubicBezTo>
                  <a:cubicBezTo>
                    <a:pt x="586" y="1840"/>
                    <a:pt x="599" y="1879"/>
                    <a:pt x="632" y="1893"/>
                  </a:cubicBezTo>
                  <a:cubicBezTo>
                    <a:pt x="685" y="1919"/>
                    <a:pt x="718" y="1932"/>
                    <a:pt x="777" y="1932"/>
                  </a:cubicBezTo>
                  <a:cubicBezTo>
                    <a:pt x="810" y="1932"/>
                    <a:pt x="824" y="1932"/>
                    <a:pt x="857" y="1932"/>
                  </a:cubicBezTo>
                  <a:cubicBezTo>
                    <a:pt x="909" y="1932"/>
                    <a:pt x="929" y="1959"/>
                    <a:pt x="982" y="1972"/>
                  </a:cubicBezTo>
                  <a:cubicBezTo>
                    <a:pt x="1081" y="1998"/>
                    <a:pt x="1134" y="2031"/>
                    <a:pt x="1226" y="2071"/>
                  </a:cubicBezTo>
                  <a:cubicBezTo>
                    <a:pt x="1252" y="2084"/>
                    <a:pt x="1272" y="2091"/>
                    <a:pt x="1299" y="2104"/>
                  </a:cubicBezTo>
                  <a:cubicBezTo>
                    <a:pt x="1318" y="2123"/>
                    <a:pt x="1332" y="2150"/>
                    <a:pt x="1358" y="2150"/>
                  </a:cubicBezTo>
                  <a:cubicBezTo>
                    <a:pt x="1404" y="2150"/>
                    <a:pt x="1431" y="2110"/>
                    <a:pt x="1444" y="2064"/>
                  </a:cubicBezTo>
                  <a:cubicBezTo>
                    <a:pt x="1457" y="2038"/>
                    <a:pt x="1444" y="2005"/>
                    <a:pt x="1463" y="1978"/>
                  </a:cubicBezTo>
                  <a:cubicBezTo>
                    <a:pt x="1477" y="1965"/>
                    <a:pt x="1496" y="1965"/>
                    <a:pt x="1516" y="1959"/>
                  </a:cubicBezTo>
                  <a:cubicBezTo>
                    <a:pt x="1615" y="1925"/>
                    <a:pt x="1635" y="1813"/>
                    <a:pt x="1734" y="1813"/>
                  </a:cubicBezTo>
                  <a:cubicBezTo>
                    <a:pt x="1899" y="1813"/>
                    <a:pt x="1985" y="1846"/>
                    <a:pt x="2143" y="1886"/>
                  </a:cubicBezTo>
                  <a:cubicBezTo>
                    <a:pt x="2216" y="1906"/>
                    <a:pt x="2248" y="1932"/>
                    <a:pt x="2321" y="1932"/>
                  </a:cubicBezTo>
                  <a:cubicBezTo>
                    <a:pt x="2354" y="1932"/>
                    <a:pt x="2367" y="1912"/>
                    <a:pt x="2393" y="1912"/>
                  </a:cubicBezTo>
                  <a:cubicBezTo>
                    <a:pt x="2492" y="1912"/>
                    <a:pt x="2532" y="1932"/>
                    <a:pt x="2631" y="1945"/>
                  </a:cubicBezTo>
                  <a:lnTo>
                    <a:pt x="2631" y="1945"/>
                  </a:lnTo>
                  <a:cubicBezTo>
                    <a:pt x="2644" y="1932"/>
                    <a:pt x="2657" y="1925"/>
                    <a:pt x="2664" y="1906"/>
                  </a:cubicBezTo>
                  <a:cubicBezTo>
                    <a:pt x="2684" y="1860"/>
                    <a:pt x="2671" y="1827"/>
                    <a:pt x="2697" y="1780"/>
                  </a:cubicBezTo>
                  <a:cubicBezTo>
                    <a:pt x="2710" y="1754"/>
                    <a:pt x="2750" y="1748"/>
                    <a:pt x="2750" y="1721"/>
                  </a:cubicBezTo>
                  <a:cubicBezTo>
                    <a:pt x="2750" y="1662"/>
                    <a:pt x="2690" y="1655"/>
                    <a:pt x="2651" y="1616"/>
                  </a:cubicBezTo>
                  <a:cubicBezTo>
                    <a:pt x="2690" y="1616"/>
                    <a:pt x="2717" y="1609"/>
                    <a:pt x="2763" y="1602"/>
                  </a:cubicBezTo>
                  <a:cubicBezTo>
                    <a:pt x="2783" y="1596"/>
                    <a:pt x="2789" y="1563"/>
                    <a:pt x="2816" y="1563"/>
                  </a:cubicBezTo>
                  <a:cubicBezTo>
                    <a:pt x="2849" y="1563"/>
                    <a:pt x="2862" y="1583"/>
                    <a:pt x="2895" y="1583"/>
                  </a:cubicBezTo>
                  <a:cubicBezTo>
                    <a:pt x="2921" y="1583"/>
                    <a:pt x="2948" y="1583"/>
                    <a:pt x="2967" y="1569"/>
                  </a:cubicBezTo>
                  <a:lnTo>
                    <a:pt x="2967" y="1569"/>
                  </a:lnTo>
                  <a:cubicBezTo>
                    <a:pt x="2948" y="1510"/>
                    <a:pt x="2928" y="1477"/>
                    <a:pt x="2915" y="1411"/>
                  </a:cubicBezTo>
                  <a:cubicBezTo>
                    <a:pt x="2888" y="1411"/>
                    <a:pt x="2875" y="1405"/>
                    <a:pt x="2842" y="1405"/>
                  </a:cubicBezTo>
                  <a:cubicBezTo>
                    <a:pt x="2829" y="1405"/>
                    <a:pt x="2822" y="1411"/>
                    <a:pt x="2809" y="1411"/>
                  </a:cubicBezTo>
                  <a:cubicBezTo>
                    <a:pt x="2789" y="1411"/>
                    <a:pt x="2776" y="1411"/>
                    <a:pt x="2756" y="1411"/>
                  </a:cubicBezTo>
                  <a:cubicBezTo>
                    <a:pt x="2763" y="1345"/>
                    <a:pt x="2789" y="1312"/>
                    <a:pt x="2789" y="1246"/>
                  </a:cubicBezTo>
                  <a:cubicBezTo>
                    <a:pt x="2789" y="1200"/>
                    <a:pt x="2730" y="1200"/>
                    <a:pt x="2684" y="1180"/>
                  </a:cubicBezTo>
                  <a:cubicBezTo>
                    <a:pt x="2644" y="1154"/>
                    <a:pt x="2618" y="1134"/>
                    <a:pt x="2572" y="1134"/>
                  </a:cubicBezTo>
                  <a:cubicBezTo>
                    <a:pt x="2519" y="1134"/>
                    <a:pt x="2499" y="1154"/>
                    <a:pt x="2446" y="1154"/>
                  </a:cubicBezTo>
                  <a:cubicBezTo>
                    <a:pt x="2440" y="1154"/>
                    <a:pt x="2433" y="1147"/>
                    <a:pt x="2433" y="1147"/>
                  </a:cubicBezTo>
                  <a:cubicBezTo>
                    <a:pt x="2433" y="1101"/>
                    <a:pt x="2440" y="1075"/>
                    <a:pt x="2440" y="1028"/>
                  </a:cubicBezTo>
                  <a:cubicBezTo>
                    <a:pt x="2440" y="969"/>
                    <a:pt x="2446" y="930"/>
                    <a:pt x="2427" y="870"/>
                  </a:cubicBezTo>
                  <a:cubicBezTo>
                    <a:pt x="2407" y="817"/>
                    <a:pt x="2374" y="798"/>
                    <a:pt x="2374" y="745"/>
                  </a:cubicBezTo>
                  <a:cubicBezTo>
                    <a:pt x="2374" y="712"/>
                    <a:pt x="2400" y="699"/>
                    <a:pt x="2413" y="666"/>
                  </a:cubicBezTo>
                  <a:cubicBezTo>
                    <a:pt x="2413" y="653"/>
                    <a:pt x="2407" y="646"/>
                    <a:pt x="2400" y="633"/>
                  </a:cubicBezTo>
                  <a:cubicBezTo>
                    <a:pt x="2400" y="613"/>
                    <a:pt x="2400" y="600"/>
                    <a:pt x="2400" y="580"/>
                  </a:cubicBezTo>
                  <a:cubicBezTo>
                    <a:pt x="2393" y="560"/>
                    <a:pt x="2387" y="541"/>
                    <a:pt x="2387" y="521"/>
                  </a:cubicBezTo>
                  <a:cubicBezTo>
                    <a:pt x="2380" y="488"/>
                    <a:pt x="2374" y="474"/>
                    <a:pt x="2374" y="448"/>
                  </a:cubicBezTo>
                  <a:cubicBezTo>
                    <a:pt x="2367" y="435"/>
                    <a:pt x="2367" y="422"/>
                    <a:pt x="2361" y="409"/>
                  </a:cubicBezTo>
                  <a:cubicBezTo>
                    <a:pt x="2354" y="389"/>
                    <a:pt x="2347" y="382"/>
                    <a:pt x="2341" y="362"/>
                  </a:cubicBezTo>
                  <a:cubicBezTo>
                    <a:pt x="2308" y="329"/>
                    <a:pt x="2268" y="329"/>
                    <a:pt x="2235" y="303"/>
                  </a:cubicBezTo>
                  <a:cubicBezTo>
                    <a:pt x="2202" y="277"/>
                    <a:pt x="2202" y="224"/>
                    <a:pt x="2156" y="224"/>
                  </a:cubicBezTo>
                  <a:cubicBezTo>
                    <a:pt x="2103" y="224"/>
                    <a:pt x="2070" y="244"/>
                    <a:pt x="2018" y="244"/>
                  </a:cubicBezTo>
                  <a:cubicBezTo>
                    <a:pt x="1978" y="244"/>
                    <a:pt x="1958" y="211"/>
                    <a:pt x="1919" y="211"/>
                  </a:cubicBezTo>
                  <a:cubicBezTo>
                    <a:pt x="1886" y="211"/>
                    <a:pt x="1873" y="244"/>
                    <a:pt x="1833" y="244"/>
                  </a:cubicBezTo>
                  <a:cubicBezTo>
                    <a:pt x="1800" y="244"/>
                    <a:pt x="1787" y="204"/>
                    <a:pt x="1767" y="171"/>
                  </a:cubicBezTo>
                  <a:cubicBezTo>
                    <a:pt x="1760" y="151"/>
                    <a:pt x="1760" y="125"/>
                    <a:pt x="1741" y="125"/>
                  </a:cubicBezTo>
                  <a:cubicBezTo>
                    <a:pt x="1701" y="125"/>
                    <a:pt x="1681" y="151"/>
                    <a:pt x="1642" y="151"/>
                  </a:cubicBezTo>
                  <a:cubicBezTo>
                    <a:pt x="1543" y="151"/>
                    <a:pt x="1510" y="19"/>
                    <a:pt x="1411" y="19"/>
                  </a:cubicBezTo>
                  <a:cubicBezTo>
                    <a:pt x="1378" y="19"/>
                    <a:pt x="1364" y="19"/>
                    <a:pt x="1338" y="19"/>
                  </a:cubicBezTo>
                  <a:cubicBezTo>
                    <a:pt x="1299" y="19"/>
                    <a:pt x="1279" y="0"/>
                    <a:pt x="1239" y="0"/>
                  </a:cubicBezTo>
                  <a:cubicBezTo>
                    <a:pt x="1206" y="0"/>
                    <a:pt x="1193" y="0"/>
                    <a:pt x="1160" y="0"/>
                  </a:cubicBezTo>
                  <a:cubicBezTo>
                    <a:pt x="1127" y="0"/>
                    <a:pt x="1120" y="46"/>
                    <a:pt x="1088" y="46"/>
                  </a:cubicBezTo>
                  <a:cubicBezTo>
                    <a:pt x="1061" y="46"/>
                    <a:pt x="1055" y="26"/>
                    <a:pt x="1028" y="26"/>
                  </a:cubicBezTo>
                  <a:cubicBezTo>
                    <a:pt x="989" y="26"/>
                    <a:pt x="969" y="26"/>
                    <a:pt x="929" y="26"/>
                  </a:cubicBezTo>
                  <a:cubicBezTo>
                    <a:pt x="738" y="6"/>
                    <a:pt x="738" y="6"/>
                    <a:pt x="738" y="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6" name="Freeform 42"/>
            <p:cNvSpPr>
              <a:spLocks noChangeArrowheads="1"/>
            </p:cNvSpPr>
            <p:nvPr/>
          </p:nvSpPr>
          <p:spPr bwMode="auto">
            <a:xfrm>
              <a:off x="6972641" y="8018457"/>
              <a:ext cx="1484216" cy="1047750"/>
            </a:xfrm>
            <a:custGeom>
              <a:avLst/>
              <a:gdLst>
                <a:gd name="T0" fmla="*/ 1154 w 4123"/>
                <a:gd name="T1" fmla="*/ 66 h 2909"/>
                <a:gd name="T2" fmla="*/ 1062 w 4123"/>
                <a:gd name="T3" fmla="*/ 198 h 2909"/>
                <a:gd name="T4" fmla="*/ 963 w 4123"/>
                <a:gd name="T5" fmla="*/ 257 h 2909"/>
                <a:gd name="T6" fmla="*/ 851 w 4123"/>
                <a:gd name="T7" fmla="*/ 356 h 2909"/>
                <a:gd name="T8" fmla="*/ 785 w 4123"/>
                <a:gd name="T9" fmla="*/ 501 h 2909"/>
                <a:gd name="T10" fmla="*/ 673 w 4123"/>
                <a:gd name="T11" fmla="*/ 620 h 2909"/>
                <a:gd name="T12" fmla="*/ 455 w 4123"/>
                <a:gd name="T13" fmla="*/ 1029 h 2909"/>
                <a:gd name="T14" fmla="*/ 152 w 4123"/>
                <a:gd name="T15" fmla="*/ 1213 h 2909"/>
                <a:gd name="T16" fmla="*/ 0 w 4123"/>
                <a:gd name="T17" fmla="*/ 1345 h 2909"/>
                <a:gd name="T18" fmla="*/ 290 w 4123"/>
                <a:gd name="T19" fmla="*/ 1365 h 2909"/>
                <a:gd name="T20" fmla="*/ 422 w 4123"/>
                <a:gd name="T21" fmla="*/ 1339 h 2909"/>
                <a:gd name="T22" fmla="*/ 600 w 4123"/>
                <a:gd name="T23" fmla="*/ 1358 h 2909"/>
                <a:gd name="T24" fmla="*/ 904 w 4123"/>
                <a:gd name="T25" fmla="*/ 1490 h 2909"/>
                <a:gd name="T26" fmla="*/ 1029 w 4123"/>
                <a:gd name="T27" fmla="*/ 1510 h 2909"/>
                <a:gd name="T28" fmla="*/ 1181 w 4123"/>
                <a:gd name="T29" fmla="*/ 1550 h 2909"/>
                <a:gd name="T30" fmla="*/ 1418 w 4123"/>
                <a:gd name="T31" fmla="*/ 1563 h 2909"/>
                <a:gd name="T32" fmla="*/ 1603 w 4123"/>
                <a:gd name="T33" fmla="*/ 1701 h 2909"/>
                <a:gd name="T34" fmla="*/ 1636 w 4123"/>
                <a:gd name="T35" fmla="*/ 1787 h 2909"/>
                <a:gd name="T36" fmla="*/ 1662 w 4123"/>
                <a:gd name="T37" fmla="*/ 1919 h 2909"/>
                <a:gd name="T38" fmla="*/ 1675 w 4123"/>
                <a:gd name="T39" fmla="*/ 2005 h 2909"/>
                <a:gd name="T40" fmla="*/ 1689 w 4123"/>
                <a:gd name="T41" fmla="*/ 2209 h 2909"/>
                <a:gd name="T42" fmla="*/ 1695 w 4123"/>
                <a:gd name="T43" fmla="*/ 2486 h 2909"/>
                <a:gd name="T44" fmla="*/ 1834 w 4123"/>
                <a:gd name="T45" fmla="*/ 2473 h 2909"/>
                <a:gd name="T46" fmla="*/ 2051 w 4123"/>
                <a:gd name="T47" fmla="*/ 2585 h 2909"/>
                <a:gd name="T48" fmla="*/ 2071 w 4123"/>
                <a:gd name="T49" fmla="*/ 2750 h 2909"/>
                <a:gd name="T50" fmla="*/ 2177 w 4123"/>
                <a:gd name="T51" fmla="*/ 2750 h 2909"/>
                <a:gd name="T52" fmla="*/ 2229 w 4123"/>
                <a:gd name="T53" fmla="*/ 2908 h 2909"/>
                <a:gd name="T54" fmla="*/ 2249 w 4123"/>
                <a:gd name="T55" fmla="*/ 2796 h 2909"/>
                <a:gd name="T56" fmla="*/ 2645 w 4123"/>
                <a:gd name="T57" fmla="*/ 2546 h 2909"/>
                <a:gd name="T58" fmla="*/ 3054 w 4123"/>
                <a:gd name="T59" fmla="*/ 2288 h 2909"/>
                <a:gd name="T60" fmla="*/ 3219 w 4123"/>
                <a:gd name="T61" fmla="*/ 2229 h 2909"/>
                <a:gd name="T62" fmla="*/ 3469 w 4123"/>
                <a:gd name="T63" fmla="*/ 2229 h 2909"/>
                <a:gd name="T64" fmla="*/ 3595 w 4123"/>
                <a:gd name="T65" fmla="*/ 2143 h 2909"/>
                <a:gd name="T66" fmla="*/ 3753 w 4123"/>
                <a:gd name="T67" fmla="*/ 2077 h 2909"/>
                <a:gd name="T68" fmla="*/ 3832 w 4123"/>
                <a:gd name="T69" fmla="*/ 2077 h 2909"/>
                <a:gd name="T70" fmla="*/ 3826 w 4123"/>
                <a:gd name="T71" fmla="*/ 2064 h 2909"/>
                <a:gd name="T72" fmla="*/ 3878 w 4123"/>
                <a:gd name="T73" fmla="*/ 1893 h 2909"/>
                <a:gd name="T74" fmla="*/ 4122 w 4123"/>
                <a:gd name="T75" fmla="*/ 1781 h 2909"/>
                <a:gd name="T76" fmla="*/ 4056 w 4123"/>
                <a:gd name="T77" fmla="*/ 1715 h 2909"/>
                <a:gd name="T78" fmla="*/ 3892 w 4123"/>
                <a:gd name="T79" fmla="*/ 1682 h 2909"/>
                <a:gd name="T80" fmla="*/ 3924 w 4123"/>
                <a:gd name="T81" fmla="*/ 1563 h 2909"/>
                <a:gd name="T82" fmla="*/ 3694 w 4123"/>
                <a:gd name="T83" fmla="*/ 1550 h 2909"/>
                <a:gd name="T84" fmla="*/ 3469 w 4123"/>
                <a:gd name="T85" fmla="*/ 1589 h 2909"/>
                <a:gd name="T86" fmla="*/ 3311 w 4123"/>
                <a:gd name="T87" fmla="*/ 1701 h 2909"/>
                <a:gd name="T88" fmla="*/ 3140 w 4123"/>
                <a:gd name="T89" fmla="*/ 1523 h 2909"/>
                <a:gd name="T90" fmla="*/ 3034 w 4123"/>
                <a:gd name="T91" fmla="*/ 1391 h 2909"/>
                <a:gd name="T92" fmla="*/ 3133 w 4123"/>
                <a:gd name="T93" fmla="*/ 936 h 2909"/>
                <a:gd name="T94" fmla="*/ 2902 w 4123"/>
                <a:gd name="T95" fmla="*/ 811 h 2909"/>
                <a:gd name="T96" fmla="*/ 2902 w 4123"/>
                <a:gd name="T97" fmla="*/ 488 h 2909"/>
                <a:gd name="T98" fmla="*/ 2882 w 4123"/>
                <a:gd name="T99" fmla="*/ 343 h 2909"/>
                <a:gd name="T100" fmla="*/ 2665 w 4123"/>
                <a:gd name="T101" fmla="*/ 224 h 2909"/>
                <a:gd name="T102" fmla="*/ 2493 w 4123"/>
                <a:gd name="T103" fmla="*/ 257 h 2909"/>
                <a:gd name="T104" fmla="*/ 2071 w 4123"/>
                <a:gd name="T105" fmla="*/ 336 h 2909"/>
                <a:gd name="T106" fmla="*/ 1933 w 4123"/>
                <a:gd name="T107" fmla="*/ 310 h 2909"/>
                <a:gd name="T108" fmla="*/ 1880 w 4123"/>
                <a:gd name="T109" fmla="*/ 244 h 2909"/>
                <a:gd name="T110" fmla="*/ 1853 w 4123"/>
                <a:gd name="T111" fmla="*/ 72 h 2909"/>
                <a:gd name="T112" fmla="*/ 1682 w 4123"/>
                <a:gd name="T113" fmla="*/ 53 h 2909"/>
                <a:gd name="T114" fmla="*/ 1339 w 4123"/>
                <a:gd name="T115" fmla="*/ 26 h 2909"/>
                <a:gd name="T116" fmla="*/ 1154 w 4123"/>
                <a:gd name="T117" fmla="*/ 66 h 29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123" h="2909">
                  <a:moveTo>
                    <a:pt x="1154" y="66"/>
                  </a:moveTo>
                  <a:lnTo>
                    <a:pt x="1154" y="66"/>
                  </a:lnTo>
                  <a:cubicBezTo>
                    <a:pt x="1148" y="92"/>
                    <a:pt x="1128" y="105"/>
                    <a:pt x="1108" y="132"/>
                  </a:cubicBezTo>
                  <a:cubicBezTo>
                    <a:pt x="1088" y="158"/>
                    <a:pt x="1088" y="178"/>
                    <a:pt x="1062" y="198"/>
                  </a:cubicBezTo>
                  <a:cubicBezTo>
                    <a:pt x="1042" y="204"/>
                    <a:pt x="1036" y="211"/>
                    <a:pt x="1016" y="217"/>
                  </a:cubicBezTo>
                  <a:cubicBezTo>
                    <a:pt x="996" y="231"/>
                    <a:pt x="989" y="244"/>
                    <a:pt x="963" y="257"/>
                  </a:cubicBezTo>
                  <a:cubicBezTo>
                    <a:pt x="943" y="264"/>
                    <a:pt x="930" y="257"/>
                    <a:pt x="910" y="270"/>
                  </a:cubicBezTo>
                  <a:cubicBezTo>
                    <a:pt x="871" y="283"/>
                    <a:pt x="864" y="316"/>
                    <a:pt x="851" y="356"/>
                  </a:cubicBezTo>
                  <a:cubicBezTo>
                    <a:pt x="831" y="402"/>
                    <a:pt x="824" y="428"/>
                    <a:pt x="805" y="475"/>
                  </a:cubicBezTo>
                  <a:cubicBezTo>
                    <a:pt x="798" y="488"/>
                    <a:pt x="792" y="494"/>
                    <a:pt x="785" y="501"/>
                  </a:cubicBezTo>
                  <a:cubicBezTo>
                    <a:pt x="772" y="521"/>
                    <a:pt x="772" y="527"/>
                    <a:pt x="758" y="547"/>
                  </a:cubicBezTo>
                  <a:cubicBezTo>
                    <a:pt x="725" y="573"/>
                    <a:pt x="693" y="587"/>
                    <a:pt x="673" y="620"/>
                  </a:cubicBezTo>
                  <a:cubicBezTo>
                    <a:pt x="633" y="686"/>
                    <a:pt x="646" y="732"/>
                    <a:pt x="640" y="804"/>
                  </a:cubicBezTo>
                  <a:cubicBezTo>
                    <a:pt x="620" y="916"/>
                    <a:pt x="501" y="930"/>
                    <a:pt x="455" y="1029"/>
                  </a:cubicBezTo>
                  <a:cubicBezTo>
                    <a:pt x="415" y="1101"/>
                    <a:pt x="389" y="1147"/>
                    <a:pt x="317" y="1180"/>
                  </a:cubicBezTo>
                  <a:cubicBezTo>
                    <a:pt x="257" y="1207"/>
                    <a:pt x="211" y="1194"/>
                    <a:pt x="152" y="1213"/>
                  </a:cubicBezTo>
                  <a:cubicBezTo>
                    <a:pt x="79" y="1246"/>
                    <a:pt x="46" y="1286"/>
                    <a:pt x="0" y="1345"/>
                  </a:cubicBezTo>
                  <a:lnTo>
                    <a:pt x="0" y="1345"/>
                  </a:lnTo>
                  <a:cubicBezTo>
                    <a:pt x="191" y="1365"/>
                    <a:pt x="191" y="1365"/>
                    <a:pt x="191" y="1365"/>
                  </a:cubicBezTo>
                  <a:cubicBezTo>
                    <a:pt x="231" y="1365"/>
                    <a:pt x="251" y="1365"/>
                    <a:pt x="290" y="1365"/>
                  </a:cubicBezTo>
                  <a:cubicBezTo>
                    <a:pt x="317" y="1365"/>
                    <a:pt x="323" y="1385"/>
                    <a:pt x="350" y="1385"/>
                  </a:cubicBezTo>
                  <a:cubicBezTo>
                    <a:pt x="382" y="1385"/>
                    <a:pt x="389" y="1339"/>
                    <a:pt x="422" y="1339"/>
                  </a:cubicBezTo>
                  <a:cubicBezTo>
                    <a:pt x="455" y="1339"/>
                    <a:pt x="468" y="1339"/>
                    <a:pt x="501" y="1339"/>
                  </a:cubicBezTo>
                  <a:cubicBezTo>
                    <a:pt x="541" y="1339"/>
                    <a:pt x="561" y="1358"/>
                    <a:pt x="600" y="1358"/>
                  </a:cubicBezTo>
                  <a:cubicBezTo>
                    <a:pt x="626" y="1358"/>
                    <a:pt x="640" y="1358"/>
                    <a:pt x="673" y="1358"/>
                  </a:cubicBezTo>
                  <a:cubicBezTo>
                    <a:pt x="772" y="1358"/>
                    <a:pt x="805" y="1490"/>
                    <a:pt x="904" y="1490"/>
                  </a:cubicBezTo>
                  <a:cubicBezTo>
                    <a:pt x="943" y="1490"/>
                    <a:pt x="963" y="1464"/>
                    <a:pt x="1003" y="1464"/>
                  </a:cubicBezTo>
                  <a:cubicBezTo>
                    <a:pt x="1022" y="1464"/>
                    <a:pt x="1022" y="1490"/>
                    <a:pt x="1029" y="1510"/>
                  </a:cubicBezTo>
                  <a:cubicBezTo>
                    <a:pt x="1049" y="1543"/>
                    <a:pt x="1062" y="1583"/>
                    <a:pt x="1095" y="1583"/>
                  </a:cubicBezTo>
                  <a:cubicBezTo>
                    <a:pt x="1135" y="1583"/>
                    <a:pt x="1148" y="1550"/>
                    <a:pt x="1181" y="1550"/>
                  </a:cubicBezTo>
                  <a:cubicBezTo>
                    <a:pt x="1220" y="1550"/>
                    <a:pt x="1240" y="1583"/>
                    <a:pt x="1280" y="1583"/>
                  </a:cubicBezTo>
                  <a:cubicBezTo>
                    <a:pt x="1332" y="1583"/>
                    <a:pt x="1365" y="1563"/>
                    <a:pt x="1418" y="1563"/>
                  </a:cubicBezTo>
                  <a:cubicBezTo>
                    <a:pt x="1464" y="1563"/>
                    <a:pt x="1464" y="1616"/>
                    <a:pt x="1497" y="1642"/>
                  </a:cubicBezTo>
                  <a:cubicBezTo>
                    <a:pt x="1530" y="1668"/>
                    <a:pt x="1570" y="1668"/>
                    <a:pt x="1603" y="1701"/>
                  </a:cubicBezTo>
                  <a:cubicBezTo>
                    <a:pt x="1609" y="1721"/>
                    <a:pt x="1616" y="1728"/>
                    <a:pt x="1623" y="1748"/>
                  </a:cubicBezTo>
                  <a:cubicBezTo>
                    <a:pt x="1629" y="1761"/>
                    <a:pt x="1629" y="1774"/>
                    <a:pt x="1636" y="1787"/>
                  </a:cubicBezTo>
                  <a:cubicBezTo>
                    <a:pt x="1636" y="1813"/>
                    <a:pt x="1642" y="1827"/>
                    <a:pt x="1649" y="1860"/>
                  </a:cubicBezTo>
                  <a:cubicBezTo>
                    <a:pt x="1649" y="1880"/>
                    <a:pt x="1655" y="1899"/>
                    <a:pt x="1662" y="1919"/>
                  </a:cubicBezTo>
                  <a:cubicBezTo>
                    <a:pt x="1662" y="1939"/>
                    <a:pt x="1662" y="1952"/>
                    <a:pt x="1662" y="1972"/>
                  </a:cubicBezTo>
                  <a:cubicBezTo>
                    <a:pt x="1669" y="1985"/>
                    <a:pt x="1675" y="1992"/>
                    <a:pt x="1675" y="2005"/>
                  </a:cubicBezTo>
                  <a:cubicBezTo>
                    <a:pt x="1662" y="2038"/>
                    <a:pt x="1636" y="2051"/>
                    <a:pt x="1636" y="2084"/>
                  </a:cubicBezTo>
                  <a:cubicBezTo>
                    <a:pt x="1636" y="2137"/>
                    <a:pt x="1669" y="2156"/>
                    <a:pt x="1689" y="2209"/>
                  </a:cubicBezTo>
                  <a:cubicBezTo>
                    <a:pt x="1708" y="2269"/>
                    <a:pt x="1702" y="2308"/>
                    <a:pt x="1702" y="2367"/>
                  </a:cubicBezTo>
                  <a:cubicBezTo>
                    <a:pt x="1702" y="2414"/>
                    <a:pt x="1695" y="2440"/>
                    <a:pt x="1695" y="2486"/>
                  </a:cubicBezTo>
                  <a:cubicBezTo>
                    <a:pt x="1695" y="2486"/>
                    <a:pt x="1702" y="2493"/>
                    <a:pt x="1708" y="2493"/>
                  </a:cubicBezTo>
                  <a:cubicBezTo>
                    <a:pt x="1761" y="2493"/>
                    <a:pt x="1781" y="2473"/>
                    <a:pt x="1834" y="2473"/>
                  </a:cubicBezTo>
                  <a:cubicBezTo>
                    <a:pt x="1880" y="2473"/>
                    <a:pt x="1906" y="2493"/>
                    <a:pt x="1946" y="2519"/>
                  </a:cubicBezTo>
                  <a:cubicBezTo>
                    <a:pt x="1992" y="2539"/>
                    <a:pt x="2051" y="2539"/>
                    <a:pt x="2051" y="2585"/>
                  </a:cubicBezTo>
                  <a:cubicBezTo>
                    <a:pt x="2051" y="2651"/>
                    <a:pt x="2025" y="2684"/>
                    <a:pt x="2018" y="2750"/>
                  </a:cubicBezTo>
                  <a:cubicBezTo>
                    <a:pt x="2038" y="2750"/>
                    <a:pt x="2051" y="2750"/>
                    <a:pt x="2071" y="2750"/>
                  </a:cubicBezTo>
                  <a:cubicBezTo>
                    <a:pt x="2084" y="2750"/>
                    <a:pt x="2091" y="2744"/>
                    <a:pt x="2104" y="2744"/>
                  </a:cubicBezTo>
                  <a:cubicBezTo>
                    <a:pt x="2137" y="2744"/>
                    <a:pt x="2150" y="2750"/>
                    <a:pt x="2177" y="2750"/>
                  </a:cubicBezTo>
                  <a:cubicBezTo>
                    <a:pt x="2190" y="2816"/>
                    <a:pt x="2210" y="2849"/>
                    <a:pt x="2229" y="2908"/>
                  </a:cubicBezTo>
                  <a:lnTo>
                    <a:pt x="2229" y="2908"/>
                  </a:lnTo>
                  <a:cubicBezTo>
                    <a:pt x="2256" y="2902"/>
                    <a:pt x="2269" y="2882"/>
                    <a:pt x="2269" y="2856"/>
                  </a:cubicBezTo>
                  <a:cubicBezTo>
                    <a:pt x="2269" y="2829"/>
                    <a:pt x="2262" y="2816"/>
                    <a:pt x="2249" y="2796"/>
                  </a:cubicBezTo>
                  <a:cubicBezTo>
                    <a:pt x="2308" y="2790"/>
                    <a:pt x="2322" y="2744"/>
                    <a:pt x="2368" y="2710"/>
                  </a:cubicBezTo>
                  <a:cubicBezTo>
                    <a:pt x="2473" y="2645"/>
                    <a:pt x="2533" y="2605"/>
                    <a:pt x="2645" y="2546"/>
                  </a:cubicBezTo>
                  <a:cubicBezTo>
                    <a:pt x="2770" y="2473"/>
                    <a:pt x="2823" y="2394"/>
                    <a:pt x="2955" y="2341"/>
                  </a:cubicBezTo>
                  <a:cubicBezTo>
                    <a:pt x="2994" y="2321"/>
                    <a:pt x="3008" y="2288"/>
                    <a:pt x="3054" y="2288"/>
                  </a:cubicBezTo>
                  <a:cubicBezTo>
                    <a:pt x="3067" y="2288"/>
                    <a:pt x="3074" y="2295"/>
                    <a:pt x="3093" y="2295"/>
                  </a:cubicBezTo>
                  <a:cubicBezTo>
                    <a:pt x="3146" y="2295"/>
                    <a:pt x="3173" y="2255"/>
                    <a:pt x="3219" y="2229"/>
                  </a:cubicBezTo>
                  <a:cubicBezTo>
                    <a:pt x="3265" y="2196"/>
                    <a:pt x="3298" y="2190"/>
                    <a:pt x="3351" y="2190"/>
                  </a:cubicBezTo>
                  <a:cubicBezTo>
                    <a:pt x="3397" y="2190"/>
                    <a:pt x="3417" y="2229"/>
                    <a:pt x="3469" y="2229"/>
                  </a:cubicBezTo>
                  <a:cubicBezTo>
                    <a:pt x="3502" y="2229"/>
                    <a:pt x="3522" y="2236"/>
                    <a:pt x="3549" y="2216"/>
                  </a:cubicBezTo>
                  <a:cubicBezTo>
                    <a:pt x="3575" y="2190"/>
                    <a:pt x="3575" y="2163"/>
                    <a:pt x="3595" y="2143"/>
                  </a:cubicBezTo>
                  <a:cubicBezTo>
                    <a:pt x="3634" y="2110"/>
                    <a:pt x="3667" y="2104"/>
                    <a:pt x="3720" y="2091"/>
                  </a:cubicBezTo>
                  <a:cubicBezTo>
                    <a:pt x="3733" y="2091"/>
                    <a:pt x="3740" y="2077"/>
                    <a:pt x="3753" y="2077"/>
                  </a:cubicBezTo>
                  <a:cubicBezTo>
                    <a:pt x="3779" y="2077"/>
                    <a:pt x="3793" y="2077"/>
                    <a:pt x="3819" y="2077"/>
                  </a:cubicBezTo>
                  <a:cubicBezTo>
                    <a:pt x="3826" y="2077"/>
                    <a:pt x="3826" y="2077"/>
                    <a:pt x="3832" y="2077"/>
                  </a:cubicBezTo>
                  <a:lnTo>
                    <a:pt x="3832" y="2077"/>
                  </a:lnTo>
                  <a:cubicBezTo>
                    <a:pt x="3832" y="2071"/>
                    <a:pt x="3826" y="2071"/>
                    <a:pt x="3826" y="2064"/>
                  </a:cubicBezTo>
                  <a:cubicBezTo>
                    <a:pt x="3826" y="2031"/>
                    <a:pt x="3839" y="2005"/>
                    <a:pt x="3845" y="1972"/>
                  </a:cubicBezTo>
                  <a:cubicBezTo>
                    <a:pt x="3852" y="1939"/>
                    <a:pt x="3852" y="1912"/>
                    <a:pt x="3878" y="1893"/>
                  </a:cubicBezTo>
                  <a:cubicBezTo>
                    <a:pt x="3958" y="1833"/>
                    <a:pt x="4023" y="1813"/>
                    <a:pt x="4122" y="1813"/>
                  </a:cubicBezTo>
                  <a:cubicBezTo>
                    <a:pt x="4122" y="1800"/>
                    <a:pt x="4122" y="1794"/>
                    <a:pt x="4122" y="1781"/>
                  </a:cubicBezTo>
                  <a:cubicBezTo>
                    <a:pt x="4122" y="1761"/>
                    <a:pt x="4109" y="1754"/>
                    <a:pt x="4096" y="1741"/>
                  </a:cubicBezTo>
                  <a:cubicBezTo>
                    <a:pt x="4083" y="1728"/>
                    <a:pt x="4076" y="1715"/>
                    <a:pt x="4056" y="1715"/>
                  </a:cubicBezTo>
                  <a:cubicBezTo>
                    <a:pt x="4030" y="1715"/>
                    <a:pt x="4017" y="1715"/>
                    <a:pt x="3991" y="1715"/>
                  </a:cubicBezTo>
                  <a:cubicBezTo>
                    <a:pt x="3951" y="1715"/>
                    <a:pt x="3892" y="1721"/>
                    <a:pt x="3892" y="1682"/>
                  </a:cubicBezTo>
                  <a:cubicBezTo>
                    <a:pt x="3892" y="1636"/>
                    <a:pt x="3905" y="1602"/>
                    <a:pt x="3924" y="1563"/>
                  </a:cubicBezTo>
                  <a:lnTo>
                    <a:pt x="3924" y="1563"/>
                  </a:lnTo>
                  <a:cubicBezTo>
                    <a:pt x="3878" y="1563"/>
                    <a:pt x="3839" y="1550"/>
                    <a:pt x="3793" y="1550"/>
                  </a:cubicBezTo>
                  <a:cubicBezTo>
                    <a:pt x="3753" y="1550"/>
                    <a:pt x="3733" y="1550"/>
                    <a:pt x="3694" y="1550"/>
                  </a:cubicBezTo>
                  <a:cubicBezTo>
                    <a:pt x="3628" y="1550"/>
                    <a:pt x="3595" y="1596"/>
                    <a:pt x="3529" y="1596"/>
                  </a:cubicBezTo>
                  <a:cubicBezTo>
                    <a:pt x="3502" y="1596"/>
                    <a:pt x="3489" y="1596"/>
                    <a:pt x="3469" y="1589"/>
                  </a:cubicBezTo>
                  <a:cubicBezTo>
                    <a:pt x="3463" y="1583"/>
                    <a:pt x="3456" y="1563"/>
                    <a:pt x="3450" y="1563"/>
                  </a:cubicBezTo>
                  <a:cubicBezTo>
                    <a:pt x="3370" y="1563"/>
                    <a:pt x="3384" y="1701"/>
                    <a:pt x="3311" y="1701"/>
                  </a:cubicBezTo>
                  <a:cubicBezTo>
                    <a:pt x="3238" y="1701"/>
                    <a:pt x="3140" y="1682"/>
                    <a:pt x="3140" y="1609"/>
                  </a:cubicBezTo>
                  <a:cubicBezTo>
                    <a:pt x="3140" y="1576"/>
                    <a:pt x="3140" y="1556"/>
                    <a:pt x="3140" y="1523"/>
                  </a:cubicBezTo>
                  <a:cubicBezTo>
                    <a:pt x="3140" y="1490"/>
                    <a:pt x="3133" y="1457"/>
                    <a:pt x="3100" y="1438"/>
                  </a:cubicBezTo>
                  <a:cubicBezTo>
                    <a:pt x="3074" y="1424"/>
                    <a:pt x="3047" y="1418"/>
                    <a:pt x="3034" y="1391"/>
                  </a:cubicBezTo>
                  <a:cubicBezTo>
                    <a:pt x="3166" y="1055"/>
                    <a:pt x="3166" y="1055"/>
                    <a:pt x="3166" y="1055"/>
                  </a:cubicBezTo>
                  <a:cubicBezTo>
                    <a:pt x="3159" y="1009"/>
                    <a:pt x="3166" y="969"/>
                    <a:pt x="3133" y="936"/>
                  </a:cubicBezTo>
                  <a:cubicBezTo>
                    <a:pt x="3100" y="897"/>
                    <a:pt x="3054" y="916"/>
                    <a:pt x="3001" y="910"/>
                  </a:cubicBezTo>
                  <a:cubicBezTo>
                    <a:pt x="2948" y="903"/>
                    <a:pt x="2929" y="864"/>
                    <a:pt x="2902" y="811"/>
                  </a:cubicBezTo>
                  <a:cubicBezTo>
                    <a:pt x="2889" y="758"/>
                    <a:pt x="2876" y="725"/>
                    <a:pt x="2876" y="666"/>
                  </a:cubicBezTo>
                  <a:cubicBezTo>
                    <a:pt x="2876" y="600"/>
                    <a:pt x="2902" y="560"/>
                    <a:pt x="2902" y="488"/>
                  </a:cubicBezTo>
                  <a:cubicBezTo>
                    <a:pt x="2902" y="468"/>
                    <a:pt x="2882" y="455"/>
                    <a:pt x="2882" y="435"/>
                  </a:cubicBezTo>
                  <a:cubicBezTo>
                    <a:pt x="2882" y="396"/>
                    <a:pt x="2882" y="382"/>
                    <a:pt x="2882" y="343"/>
                  </a:cubicBezTo>
                  <a:cubicBezTo>
                    <a:pt x="2882" y="277"/>
                    <a:pt x="2836" y="211"/>
                    <a:pt x="2770" y="211"/>
                  </a:cubicBezTo>
                  <a:cubicBezTo>
                    <a:pt x="2731" y="211"/>
                    <a:pt x="2704" y="224"/>
                    <a:pt x="2665" y="224"/>
                  </a:cubicBezTo>
                  <a:cubicBezTo>
                    <a:pt x="2638" y="224"/>
                    <a:pt x="2625" y="211"/>
                    <a:pt x="2599" y="211"/>
                  </a:cubicBezTo>
                  <a:cubicBezTo>
                    <a:pt x="2552" y="211"/>
                    <a:pt x="2539" y="257"/>
                    <a:pt x="2493" y="257"/>
                  </a:cubicBezTo>
                  <a:cubicBezTo>
                    <a:pt x="2454" y="257"/>
                    <a:pt x="2427" y="244"/>
                    <a:pt x="2388" y="244"/>
                  </a:cubicBezTo>
                  <a:cubicBezTo>
                    <a:pt x="2262" y="244"/>
                    <a:pt x="2183" y="270"/>
                    <a:pt x="2071" y="336"/>
                  </a:cubicBezTo>
                  <a:cubicBezTo>
                    <a:pt x="2058" y="303"/>
                    <a:pt x="2051" y="264"/>
                    <a:pt x="2012" y="264"/>
                  </a:cubicBezTo>
                  <a:cubicBezTo>
                    <a:pt x="1979" y="264"/>
                    <a:pt x="1966" y="310"/>
                    <a:pt x="1933" y="310"/>
                  </a:cubicBezTo>
                  <a:cubicBezTo>
                    <a:pt x="1913" y="310"/>
                    <a:pt x="1906" y="290"/>
                    <a:pt x="1900" y="277"/>
                  </a:cubicBezTo>
                  <a:cubicBezTo>
                    <a:pt x="1893" y="264"/>
                    <a:pt x="1880" y="257"/>
                    <a:pt x="1880" y="244"/>
                  </a:cubicBezTo>
                  <a:cubicBezTo>
                    <a:pt x="1880" y="204"/>
                    <a:pt x="1900" y="185"/>
                    <a:pt x="1900" y="145"/>
                  </a:cubicBezTo>
                  <a:cubicBezTo>
                    <a:pt x="1900" y="112"/>
                    <a:pt x="1880" y="86"/>
                    <a:pt x="1853" y="72"/>
                  </a:cubicBezTo>
                  <a:cubicBezTo>
                    <a:pt x="1834" y="72"/>
                    <a:pt x="1821" y="66"/>
                    <a:pt x="1801" y="59"/>
                  </a:cubicBezTo>
                  <a:cubicBezTo>
                    <a:pt x="1754" y="53"/>
                    <a:pt x="1728" y="53"/>
                    <a:pt x="1682" y="53"/>
                  </a:cubicBezTo>
                  <a:cubicBezTo>
                    <a:pt x="1609" y="53"/>
                    <a:pt x="1570" y="59"/>
                    <a:pt x="1497" y="59"/>
                  </a:cubicBezTo>
                  <a:cubicBezTo>
                    <a:pt x="1438" y="53"/>
                    <a:pt x="1398" y="53"/>
                    <a:pt x="1339" y="26"/>
                  </a:cubicBezTo>
                  <a:cubicBezTo>
                    <a:pt x="1319" y="13"/>
                    <a:pt x="1299" y="0"/>
                    <a:pt x="1273" y="0"/>
                  </a:cubicBezTo>
                  <a:cubicBezTo>
                    <a:pt x="1220" y="0"/>
                    <a:pt x="1187" y="26"/>
                    <a:pt x="1154" y="6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7" name="Freeform 43"/>
            <p:cNvSpPr>
              <a:spLocks noChangeArrowheads="1"/>
            </p:cNvSpPr>
            <p:nvPr/>
          </p:nvSpPr>
          <p:spPr bwMode="auto">
            <a:xfrm>
              <a:off x="6150369" y="7512044"/>
              <a:ext cx="1258806" cy="1277938"/>
            </a:xfrm>
            <a:custGeom>
              <a:avLst/>
              <a:gdLst>
                <a:gd name="T0" fmla="*/ 3495 w 3496"/>
                <a:gd name="T1" fmla="*/ 1213 h 3549"/>
                <a:gd name="T2" fmla="*/ 3435 w 3496"/>
                <a:gd name="T3" fmla="*/ 1471 h 3549"/>
                <a:gd name="T4" fmla="*/ 3389 w 3496"/>
                <a:gd name="T5" fmla="*/ 1537 h 3549"/>
                <a:gd name="T6" fmla="*/ 3297 w 3496"/>
                <a:gd name="T7" fmla="*/ 1622 h 3549"/>
                <a:gd name="T8" fmla="*/ 3191 w 3496"/>
                <a:gd name="T9" fmla="*/ 1675 h 3549"/>
                <a:gd name="T10" fmla="*/ 3086 w 3496"/>
                <a:gd name="T11" fmla="*/ 1880 h 3549"/>
                <a:gd name="T12" fmla="*/ 3039 w 3496"/>
                <a:gd name="T13" fmla="*/ 1952 h 3549"/>
                <a:gd name="T14" fmla="*/ 2921 w 3496"/>
                <a:gd name="T15" fmla="*/ 2209 h 3549"/>
                <a:gd name="T16" fmla="*/ 2598 w 3496"/>
                <a:gd name="T17" fmla="*/ 2585 h 3549"/>
                <a:gd name="T18" fmla="*/ 2281 w 3496"/>
                <a:gd name="T19" fmla="*/ 2750 h 3549"/>
                <a:gd name="T20" fmla="*/ 2024 w 3496"/>
                <a:gd name="T21" fmla="*/ 3021 h 3549"/>
                <a:gd name="T22" fmla="*/ 1853 w 3496"/>
                <a:gd name="T23" fmla="*/ 3245 h 3549"/>
                <a:gd name="T24" fmla="*/ 1702 w 3496"/>
                <a:gd name="T25" fmla="*/ 3456 h 3549"/>
                <a:gd name="T26" fmla="*/ 1682 w 3496"/>
                <a:gd name="T27" fmla="*/ 3548 h 3549"/>
                <a:gd name="T28" fmla="*/ 1510 w 3496"/>
                <a:gd name="T29" fmla="*/ 3377 h 3549"/>
                <a:gd name="T30" fmla="*/ 1392 w 3496"/>
                <a:gd name="T31" fmla="*/ 3410 h 3549"/>
                <a:gd name="T32" fmla="*/ 1075 w 3496"/>
                <a:gd name="T33" fmla="*/ 3153 h 3549"/>
                <a:gd name="T34" fmla="*/ 1081 w 3496"/>
                <a:gd name="T35" fmla="*/ 3034 h 3549"/>
                <a:gd name="T36" fmla="*/ 1029 w 3496"/>
                <a:gd name="T37" fmla="*/ 2862 h 3549"/>
                <a:gd name="T38" fmla="*/ 1055 w 3496"/>
                <a:gd name="T39" fmla="*/ 2566 h 3549"/>
                <a:gd name="T40" fmla="*/ 824 w 3496"/>
                <a:gd name="T41" fmla="*/ 2473 h 3549"/>
                <a:gd name="T42" fmla="*/ 593 w 3496"/>
                <a:gd name="T43" fmla="*/ 2519 h 3549"/>
                <a:gd name="T44" fmla="*/ 316 w 3496"/>
                <a:gd name="T45" fmla="*/ 2420 h 3549"/>
                <a:gd name="T46" fmla="*/ 46 w 3496"/>
                <a:gd name="T47" fmla="*/ 2394 h 3549"/>
                <a:gd name="T48" fmla="*/ 0 w 3496"/>
                <a:gd name="T49" fmla="*/ 2289 h 3549"/>
                <a:gd name="T50" fmla="*/ 79 w 3496"/>
                <a:gd name="T51" fmla="*/ 2064 h 3549"/>
                <a:gd name="T52" fmla="*/ 105 w 3496"/>
                <a:gd name="T53" fmla="*/ 1860 h 3549"/>
                <a:gd name="T54" fmla="*/ 99 w 3496"/>
                <a:gd name="T55" fmla="*/ 1767 h 3549"/>
                <a:gd name="T56" fmla="*/ 85 w 3496"/>
                <a:gd name="T57" fmla="*/ 1636 h 3549"/>
                <a:gd name="T58" fmla="*/ 33 w 3496"/>
                <a:gd name="T59" fmla="*/ 1550 h 3549"/>
                <a:gd name="T60" fmla="*/ 6 w 3496"/>
                <a:gd name="T61" fmla="*/ 1424 h 3549"/>
                <a:gd name="T62" fmla="*/ 6 w 3496"/>
                <a:gd name="T63" fmla="*/ 1411 h 3549"/>
                <a:gd name="T64" fmla="*/ 138 w 3496"/>
                <a:gd name="T65" fmla="*/ 1260 h 3549"/>
                <a:gd name="T66" fmla="*/ 39 w 3496"/>
                <a:gd name="T67" fmla="*/ 1134 h 3549"/>
                <a:gd name="T68" fmla="*/ 165 w 3496"/>
                <a:gd name="T69" fmla="*/ 864 h 3549"/>
                <a:gd name="T70" fmla="*/ 277 w 3496"/>
                <a:gd name="T71" fmla="*/ 455 h 3549"/>
                <a:gd name="T72" fmla="*/ 330 w 3496"/>
                <a:gd name="T73" fmla="*/ 350 h 3549"/>
                <a:gd name="T74" fmla="*/ 217 w 3496"/>
                <a:gd name="T75" fmla="*/ 86 h 3549"/>
                <a:gd name="T76" fmla="*/ 270 w 3496"/>
                <a:gd name="T77" fmla="*/ 72 h 3549"/>
                <a:gd name="T78" fmla="*/ 389 w 3496"/>
                <a:gd name="T79" fmla="*/ 224 h 3549"/>
                <a:gd name="T80" fmla="*/ 646 w 3496"/>
                <a:gd name="T81" fmla="*/ 204 h 3549"/>
                <a:gd name="T82" fmla="*/ 824 w 3496"/>
                <a:gd name="T83" fmla="*/ 105 h 3549"/>
                <a:gd name="T84" fmla="*/ 1088 w 3496"/>
                <a:gd name="T85" fmla="*/ 20 h 3549"/>
                <a:gd name="T86" fmla="*/ 1128 w 3496"/>
                <a:gd name="T87" fmla="*/ 79 h 3549"/>
                <a:gd name="T88" fmla="*/ 1378 w 3496"/>
                <a:gd name="T89" fmla="*/ 152 h 3549"/>
                <a:gd name="T90" fmla="*/ 1622 w 3496"/>
                <a:gd name="T91" fmla="*/ 13 h 3549"/>
                <a:gd name="T92" fmla="*/ 1853 w 3496"/>
                <a:gd name="T93" fmla="*/ 7 h 3549"/>
                <a:gd name="T94" fmla="*/ 2215 w 3496"/>
                <a:gd name="T95" fmla="*/ 46 h 3549"/>
                <a:gd name="T96" fmla="*/ 2320 w 3496"/>
                <a:gd name="T97" fmla="*/ 158 h 3549"/>
                <a:gd name="T98" fmla="*/ 2466 w 3496"/>
                <a:gd name="T99" fmla="*/ 224 h 3549"/>
                <a:gd name="T100" fmla="*/ 2452 w 3496"/>
                <a:gd name="T101" fmla="*/ 363 h 3549"/>
                <a:gd name="T102" fmla="*/ 2433 w 3496"/>
                <a:gd name="T103" fmla="*/ 508 h 3549"/>
                <a:gd name="T104" fmla="*/ 2644 w 3496"/>
                <a:gd name="T105" fmla="*/ 620 h 3549"/>
                <a:gd name="T106" fmla="*/ 2954 w 3496"/>
                <a:gd name="T107" fmla="*/ 864 h 3549"/>
                <a:gd name="T108" fmla="*/ 3244 w 3496"/>
                <a:gd name="T109" fmla="*/ 1055 h 3549"/>
                <a:gd name="T110" fmla="*/ 3495 w 3496"/>
                <a:gd name="T111" fmla="*/ 1213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6" h="3549">
                  <a:moveTo>
                    <a:pt x="3495" y="1213"/>
                  </a:moveTo>
                  <a:lnTo>
                    <a:pt x="3495" y="1213"/>
                  </a:lnTo>
                  <a:cubicBezTo>
                    <a:pt x="3442" y="1260"/>
                    <a:pt x="3422" y="1306"/>
                    <a:pt x="3422" y="1372"/>
                  </a:cubicBezTo>
                  <a:cubicBezTo>
                    <a:pt x="3422" y="1411"/>
                    <a:pt x="3442" y="1431"/>
                    <a:pt x="3435" y="1471"/>
                  </a:cubicBezTo>
                  <a:lnTo>
                    <a:pt x="3435" y="1471"/>
                  </a:lnTo>
                  <a:cubicBezTo>
                    <a:pt x="3429" y="1497"/>
                    <a:pt x="3409" y="1510"/>
                    <a:pt x="3389" y="1537"/>
                  </a:cubicBezTo>
                  <a:cubicBezTo>
                    <a:pt x="3369" y="1563"/>
                    <a:pt x="3369" y="1583"/>
                    <a:pt x="3343" y="1603"/>
                  </a:cubicBezTo>
                  <a:cubicBezTo>
                    <a:pt x="3323" y="1609"/>
                    <a:pt x="3317" y="1616"/>
                    <a:pt x="3297" y="1622"/>
                  </a:cubicBezTo>
                  <a:cubicBezTo>
                    <a:pt x="3277" y="1636"/>
                    <a:pt x="3270" y="1649"/>
                    <a:pt x="3244" y="1662"/>
                  </a:cubicBezTo>
                  <a:cubicBezTo>
                    <a:pt x="3224" y="1669"/>
                    <a:pt x="3211" y="1662"/>
                    <a:pt x="3191" y="1675"/>
                  </a:cubicBezTo>
                  <a:cubicBezTo>
                    <a:pt x="3152" y="1688"/>
                    <a:pt x="3145" y="1721"/>
                    <a:pt x="3132" y="1761"/>
                  </a:cubicBezTo>
                  <a:cubicBezTo>
                    <a:pt x="3112" y="1807"/>
                    <a:pt x="3105" y="1833"/>
                    <a:pt x="3086" y="1880"/>
                  </a:cubicBezTo>
                  <a:cubicBezTo>
                    <a:pt x="3079" y="1893"/>
                    <a:pt x="3073" y="1899"/>
                    <a:pt x="3066" y="1906"/>
                  </a:cubicBezTo>
                  <a:cubicBezTo>
                    <a:pt x="3053" y="1926"/>
                    <a:pt x="3053" y="1932"/>
                    <a:pt x="3039" y="1952"/>
                  </a:cubicBezTo>
                  <a:cubicBezTo>
                    <a:pt x="3006" y="1978"/>
                    <a:pt x="2974" y="1992"/>
                    <a:pt x="2954" y="2025"/>
                  </a:cubicBezTo>
                  <a:cubicBezTo>
                    <a:pt x="2914" y="2091"/>
                    <a:pt x="2927" y="2137"/>
                    <a:pt x="2921" y="2209"/>
                  </a:cubicBezTo>
                  <a:cubicBezTo>
                    <a:pt x="2901" y="2321"/>
                    <a:pt x="2782" y="2335"/>
                    <a:pt x="2736" y="2434"/>
                  </a:cubicBezTo>
                  <a:cubicBezTo>
                    <a:pt x="2696" y="2506"/>
                    <a:pt x="2670" y="2552"/>
                    <a:pt x="2598" y="2585"/>
                  </a:cubicBezTo>
                  <a:cubicBezTo>
                    <a:pt x="2538" y="2612"/>
                    <a:pt x="2492" y="2599"/>
                    <a:pt x="2433" y="2618"/>
                  </a:cubicBezTo>
                  <a:cubicBezTo>
                    <a:pt x="2360" y="2651"/>
                    <a:pt x="2327" y="2691"/>
                    <a:pt x="2281" y="2750"/>
                  </a:cubicBezTo>
                  <a:cubicBezTo>
                    <a:pt x="2215" y="2823"/>
                    <a:pt x="2156" y="2843"/>
                    <a:pt x="2077" y="2895"/>
                  </a:cubicBezTo>
                  <a:cubicBezTo>
                    <a:pt x="2030" y="2922"/>
                    <a:pt x="2030" y="2968"/>
                    <a:pt x="2024" y="3021"/>
                  </a:cubicBezTo>
                  <a:cubicBezTo>
                    <a:pt x="2017" y="3060"/>
                    <a:pt x="2005" y="3080"/>
                    <a:pt x="1992" y="3120"/>
                  </a:cubicBezTo>
                  <a:cubicBezTo>
                    <a:pt x="1959" y="3186"/>
                    <a:pt x="1906" y="3192"/>
                    <a:pt x="1853" y="3245"/>
                  </a:cubicBezTo>
                  <a:cubicBezTo>
                    <a:pt x="1827" y="3278"/>
                    <a:pt x="1833" y="3304"/>
                    <a:pt x="1807" y="3337"/>
                  </a:cubicBezTo>
                  <a:cubicBezTo>
                    <a:pt x="1761" y="3384"/>
                    <a:pt x="1721" y="3397"/>
                    <a:pt x="1702" y="3456"/>
                  </a:cubicBezTo>
                  <a:cubicBezTo>
                    <a:pt x="1695" y="3496"/>
                    <a:pt x="1688" y="3509"/>
                    <a:pt x="1682" y="3548"/>
                  </a:cubicBezTo>
                  <a:lnTo>
                    <a:pt x="1682" y="3548"/>
                  </a:lnTo>
                  <a:cubicBezTo>
                    <a:pt x="1655" y="3509"/>
                    <a:pt x="1629" y="3496"/>
                    <a:pt x="1616" y="3463"/>
                  </a:cubicBezTo>
                  <a:cubicBezTo>
                    <a:pt x="1596" y="3416"/>
                    <a:pt x="1563" y="3377"/>
                    <a:pt x="1510" y="3377"/>
                  </a:cubicBezTo>
                  <a:cubicBezTo>
                    <a:pt x="1484" y="3377"/>
                    <a:pt x="1477" y="3397"/>
                    <a:pt x="1451" y="3403"/>
                  </a:cubicBezTo>
                  <a:cubicBezTo>
                    <a:pt x="1431" y="3410"/>
                    <a:pt x="1418" y="3410"/>
                    <a:pt x="1392" y="3410"/>
                  </a:cubicBezTo>
                  <a:cubicBezTo>
                    <a:pt x="1312" y="3410"/>
                    <a:pt x="1266" y="3416"/>
                    <a:pt x="1200" y="3377"/>
                  </a:cubicBezTo>
                  <a:cubicBezTo>
                    <a:pt x="1114" y="3324"/>
                    <a:pt x="1101" y="3252"/>
                    <a:pt x="1075" y="3153"/>
                  </a:cubicBezTo>
                  <a:cubicBezTo>
                    <a:pt x="1068" y="3139"/>
                    <a:pt x="1068" y="3126"/>
                    <a:pt x="1068" y="3113"/>
                  </a:cubicBezTo>
                  <a:cubicBezTo>
                    <a:pt x="1068" y="3080"/>
                    <a:pt x="1081" y="3067"/>
                    <a:pt x="1081" y="3034"/>
                  </a:cubicBezTo>
                  <a:cubicBezTo>
                    <a:pt x="1081" y="3001"/>
                    <a:pt x="1081" y="2974"/>
                    <a:pt x="1075" y="2942"/>
                  </a:cubicBezTo>
                  <a:cubicBezTo>
                    <a:pt x="1062" y="2909"/>
                    <a:pt x="1029" y="2902"/>
                    <a:pt x="1029" y="2862"/>
                  </a:cubicBezTo>
                  <a:cubicBezTo>
                    <a:pt x="1029" y="2803"/>
                    <a:pt x="1081" y="2777"/>
                    <a:pt x="1081" y="2717"/>
                  </a:cubicBezTo>
                  <a:cubicBezTo>
                    <a:pt x="1081" y="2658"/>
                    <a:pt x="1081" y="2618"/>
                    <a:pt x="1055" y="2566"/>
                  </a:cubicBezTo>
                  <a:cubicBezTo>
                    <a:pt x="1029" y="2526"/>
                    <a:pt x="996" y="2519"/>
                    <a:pt x="956" y="2506"/>
                  </a:cubicBezTo>
                  <a:cubicBezTo>
                    <a:pt x="910" y="2487"/>
                    <a:pt x="877" y="2473"/>
                    <a:pt x="824" y="2473"/>
                  </a:cubicBezTo>
                  <a:cubicBezTo>
                    <a:pt x="758" y="2473"/>
                    <a:pt x="719" y="2493"/>
                    <a:pt x="653" y="2500"/>
                  </a:cubicBezTo>
                  <a:cubicBezTo>
                    <a:pt x="626" y="2506"/>
                    <a:pt x="620" y="2519"/>
                    <a:pt x="593" y="2519"/>
                  </a:cubicBezTo>
                  <a:cubicBezTo>
                    <a:pt x="547" y="2519"/>
                    <a:pt x="534" y="2480"/>
                    <a:pt x="488" y="2473"/>
                  </a:cubicBezTo>
                  <a:cubicBezTo>
                    <a:pt x="422" y="2453"/>
                    <a:pt x="382" y="2447"/>
                    <a:pt x="316" y="2420"/>
                  </a:cubicBezTo>
                  <a:cubicBezTo>
                    <a:pt x="270" y="2407"/>
                    <a:pt x="250" y="2388"/>
                    <a:pt x="198" y="2388"/>
                  </a:cubicBezTo>
                  <a:cubicBezTo>
                    <a:pt x="151" y="2388"/>
                    <a:pt x="99" y="2394"/>
                    <a:pt x="46" y="2394"/>
                  </a:cubicBezTo>
                  <a:cubicBezTo>
                    <a:pt x="39" y="2361"/>
                    <a:pt x="26" y="2348"/>
                    <a:pt x="20" y="2315"/>
                  </a:cubicBezTo>
                  <a:cubicBezTo>
                    <a:pt x="13" y="2302"/>
                    <a:pt x="0" y="2302"/>
                    <a:pt x="0" y="2289"/>
                  </a:cubicBezTo>
                  <a:cubicBezTo>
                    <a:pt x="0" y="2269"/>
                    <a:pt x="13" y="2262"/>
                    <a:pt x="20" y="2242"/>
                  </a:cubicBezTo>
                  <a:cubicBezTo>
                    <a:pt x="39" y="2170"/>
                    <a:pt x="59" y="2137"/>
                    <a:pt x="79" y="2064"/>
                  </a:cubicBezTo>
                  <a:cubicBezTo>
                    <a:pt x="92" y="2031"/>
                    <a:pt x="85" y="2012"/>
                    <a:pt x="92" y="1972"/>
                  </a:cubicBezTo>
                  <a:cubicBezTo>
                    <a:pt x="92" y="1926"/>
                    <a:pt x="105" y="1899"/>
                    <a:pt x="105" y="1860"/>
                  </a:cubicBezTo>
                  <a:cubicBezTo>
                    <a:pt x="105" y="1840"/>
                    <a:pt x="105" y="1833"/>
                    <a:pt x="105" y="1814"/>
                  </a:cubicBezTo>
                  <a:cubicBezTo>
                    <a:pt x="105" y="1801"/>
                    <a:pt x="99" y="1787"/>
                    <a:pt x="99" y="1767"/>
                  </a:cubicBezTo>
                  <a:cubicBezTo>
                    <a:pt x="99" y="1748"/>
                    <a:pt x="99" y="1735"/>
                    <a:pt x="99" y="1715"/>
                  </a:cubicBezTo>
                  <a:cubicBezTo>
                    <a:pt x="99" y="1682"/>
                    <a:pt x="99" y="1662"/>
                    <a:pt x="85" y="1636"/>
                  </a:cubicBezTo>
                  <a:cubicBezTo>
                    <a:pt x="79" y="1616"/>
                    <a:pt x="66" y="1616"/>
                    <a:pt x="53" y="1603"/>
                  </a:cubicBezTo>
                  <a:cubicBezTo>
                    <a:pt x="39" y="1590"/>
                    <a:pt x="33" y="1570"/>
                    <a:pt x="33" y="1550"/>
                  </a:cubicBezTo>
                  <a:cubicBezTo>
                    <a:pt x="33" y="1517"/>
                    <a:pt x="33" y="1504"/>
                    <a:pt x="33" y="1471"/>
                  </a:cubicBezTo>
                  <a:cubicBezTo>
                    <a:pt x="33" y="1451"/>
                    <a:pt x="13" y="1444"/>
                    <a:pt x="6" y="1424"/>
                  </a:cubicBezTo>
                  <a:cubicBezTo>
                    <a:pt x="6" y="1418"/>
                    <a:pt x="6" y="1418"/>
                    <a:pt x="6" y="1411"/>
                  </a:cubicBezTo>
                  <a:lnTo>
                    <a:pt x="6" y="1411"/>
                  </a:lnTo>
                  <a:cubicBezTo>
                    <a:pt x="46" y="1398"/>
                    <a:pt x="72" y="1398"/>
                    <a:pt x="105" y="1372"/>
                  </a:cubicBezTo>
                  <a:cubicBezTo>
                    <a:pt x="138" y="1339"/>
                    <a:pt x="138" y="1306"/>
                    <a:pt x="138" y="1260"/>
                  </a:cubicBezTo>
                  <a:cubicBezTo>
                    <a:pt x="138" y="1240"/>
                    <a:pt x="112" y="1240"/>
                    <a:pt x="92" y="1227"/>
                  </a:cubicBezTo>
                  <a:cubicBezTo>
                    <a:pt x="59" y="1200"/>
                    <a:pt x="39" y="1174"/>
                    <a:pt x="39" y="1134"/>
                  </a:cubicBezTo>
                  <a:cubicBezTo>
                    <a:pt x="39" y="1062"/>
                    <a:pt x="79" y="1029"/>
                    <a:pt x="119" y="976"/>
                  </a:cubicBezTo>
                  <a:cubicBezTo>
                    <a:pt x="151" y="943"/>
                    <a:pt x="151" y="910"/>
                    <a:pt x="165" y="864"/>
                  </a:cubicBezTo>
                  <a:cubicBezTo>
                    <a:pt x="184" y="791"/>
                    <a:pt x="211" y="752"/>
                    <a:pt x="231" y="673"/>
                  </a:cubicBezTo>
                  <a:cubicBezTo>
                    <a:pt x="244" y="587"/>
                    <a:pt x="257" y="541"/>
                    <a:pt x="277" y="455"/>
                  </a:cubicBezTo>
                  <a:cubicBezTo>
                    <a:pt x="283" y="429"/>
                    <a:pt x="290" y="415"/>
                    <a:pt x="303" y="389"/>
                  </a:cubicBezTo>
                  <a:cubicBezTo>
                    <a:pt x="310" y="369"/>
                    <a:pt x="330" y="369"/>
                    <a:pt x="330" y="350"/>
                  </a:cubicBezTo>
                  <a:cubicBezTo>
                    <a:pt x="330" y="257"/>
                    <a:pt x="270" y="211"/>
                    <a:pt x="237" y="125"/>
                  </a:cubicBezTo>
                  <a:cubicBezTo>
                    <a:pt x="231" y="112"/>
                    <a:pt x="224" y="99"/>
                    <a:pt x="217" y="86"/>
                  </a:cubicBezTo>
                  <a:lnTo>
                    <a:pt x="217" y="86"/>
                  </a:lnTo>
                  <a:cubicBezTo>
                    <a:pt x="237" y="86"/>
                    <a:pt x="250" y="72"/>
                    <a:pt x="270" y="72"/>
                  </a:cubicBezTo>
                  <a:cubicBezTo>
                    <a:pt x="290" y="72"/>
                    <a:pt x="303" y="99"/>
                    <a:pt x="310" y="119"/>
                  </a:cubicBezTo>
                  <a:cubicBezTo>
                    <a:pt x="336" y="165"/>
                    <a:pt x="349" y="191"/>
                    <a:pt x="389" y="224"/>
                  </a:cubicBezTo>
                  <a:cubicBezTo>
                    <a:pt x="435" y="264"/>
                    <a:pt x="475" y="270"/>
                    <a:pt x="534" y="270"/>
                  </a:cubicBezTo>
                  <a:cubicBezTo>
                    <a:pt x="587" y="270"/>
                    <a:pt x="600" y="218"/>
                    <a:pt x="646" y="204"/>
                  </a:cubicBezTo>
                  <a:cubicBezTo>
                    <a:pt x="699" y="191"/>
                    <a:pt x="745" y="204"/>
                    <a:pt x="791" y="165"/>
                  </a:cubicBezTo>
                  <a:cubicBezTo>
                    <a:pt x="818" y="152"/>
                    <a:pt x="804" y="125"/>
                    <a:pt x="824" y="105"/>
                  </a:cubicBezTo>
                  <a:cubicBezTo>
                    <a:pt x="851" y="72"/>
                    <a:pt x="890" y="86"/>
                    <a:pt x="930" y="66"/>
                  </a:cubicBezTo>
                  <a:cubicBezTo>
                    <a:pt x="989" y="39"/>
                    <a:pt x="1022" y="20"/>
                    <a:pt x="1088" y="20"/>
                  </a:cubicBezTo>
                  <a:cubicBezTo>
                    <a:pt x="1101" y="20"/>
                    <a:pt x="1095" y="39"/>
                    <a:pt x="1101" y="46"/>
                  </a:cubicBezTo>
                  <a:cubicBezTo>
                    <a:pt x="1108" y="59"/>
                    <a:pt x="1121" y="66"/>
                    <a:pt x="1128" y="79"/>
                  </a:cubicBezTo>
                  <a:cubicBezTo>
                    <a:pt x="1187" y="119"/>
                    <a:pt x="1233" y="152"/>
                    <a:pt x="1306" y="152"/>
                  </a:cubicBezTo>
                  <a:cubicBezTo>
                    <a:pt x="1332" y="152"/>
                    <a:pt x="1352" y="152"/>
                    <a:pt x="1378" y="152"/>
                  </a:cubicBezTo>
                  <a:cubicBezTo>
                    <a:pt x="1451" y="152"/>
                    <a:pt x="1444" y="39"/>
                    <a:pt x="1517" y="13"/>
                  </a:cubicBezTo>
                  <a:cubicBezTo>
                    <a:pt x="1556" y="0"/>
                    <a:pt x="1583" y="13"/>
                    <a:pt x="1622" y="13"/>
                  </a:cubicBezTo>
                  <a:cubicBezTo>
                    <a:pt x="1649" y="13"/>
                    <a:pt x="1662" y="7"/>
                    <a:pt x="1688" y="7"/>
                  </a:cubicBezTo>
                  <a:cubicBezTo>
                    <a:pt x="1754" y="7"/>
                    <a:pt x="1787" y="7"/>
                    <a:pt x="1853" y="7"/>
                  </a:cubicBezTo>
                  <a:cubicBezTo>
                    <a:pt x="1866" y="53"/>
                    <a:pt x="1913" y="79"/>
                    <a:pt x="1959" y="79"/>
                  </a:cubicBezTo>
                  <a:cubicBezTo>
                    <a:pt x="2063" y="79"/>
                    <a:pt x="2116" y="46"/>
                    <a:pt x="2215" y="46"/>
                  </a:cubicBezTo>
                  <a:cubicBezTo>
                    <a:pt x="2248" y="46"/>
                    <a:pt x="2281" y="39"/>
                    <a:pt x="2294" y="72"/>
                  </a:cubicBezTo>
                  <a:cubicBezTo>
                    <a:pt x="2307" y="99"/>
                    <a:pt x="2294" y="132"/>
                    <a:pt x="2320" y="158"/>
                  </a:cubicBezTo>
                  <a:cubicBezTo>
                    <a:pt x="2334" y="178"/>
                    <a:pt x="2353" y="171"/>
                    <a:pt x="2373" y="184"/>
                  </a:cubicBezTo>
                  <a:cubicBezTo>
                    <a:pt x="2413" y="198"/>
                    <a:pt x="2426" y="224"/>
                    <a:pt x="2466" y="224"/>
                  </a:cubicBezTo>
                  <a:lnTo>
                    <a:pt x="2466" y="224"/>
                  </a:lnTo>
                  <a:cubicBezTo>
                    <a:pt x="2459" y="270"/>
                    <a:pt x="2459" y="316"/>
                    <a:pt x="2452" y="363"/>
                  </a:cubicBezTo>
                  <a:cubicBezTo>
                    <a:pt x="2452" y="409"/>
                    <a:pt x="2433" y="435"/>
                    <a:pt x="2433" y="475"/>
                  </a:cubicBezTo>
                  <a:cubicBezTo>
                    <a:pt x="2433" y="488"/>
                    <a:pt x="2433" y="495"/>
                    <a:pt x="2433" y="508"/>
                  </a:cubicBezTo>
                  <a:cubicBezTo>
                    <a:pt x="2466" y="514"/>
                    <a:pt x="2492" y="508"/>
                    <a:pt x="2525" y="521"/>
                  </a:cubicBezTo>
                  <a:cubicBezTo>
                    <a:pt x="2584" y="541"/>
                    <a:pt x="2604" y="574"/>
                    <a:pt x="2644" y="620"/>
                  </a:cubicBezTo>
                  <a:cubicBezTo>
                    <a:pt x="2670" y="653"/>
                    <a:pt x="2696" y="666"/>
                    <a:pt x="2736" y="693"/>
                  </a:cubicBezTo>
                  <a:cubicBezTo>
                    <a:pt x="2822" y="758"/>
                    <a:pt x="2861" y="805"/>
                    <a:pt x="2954" y="864"/>
                  </a:cubicBezTo>
                  <a:cubicBezTo>
                    <a:pt x="3020" y="904"/>
                    <a:pt x="3046" y="930"/>
                    <a:pt x="3112" y="963"/>
                  </a:cubicBezTo>
                  <a:cubicBezTo>
                    <a:pt x="3165" y="996"/>
                    <a:pt x="3211" y="1002"/>
                    <a:pt x="3244" y="1055"/>
                  </a:cubicBezTo>
                  <a:cubicBezTo>
                    <a:pt x="3284" y="1128"/>
                    <a:pt x="3343" y="1141"/>
                    <a:pt x="3422" y="1174"/>
                  </a:cubicBezTo>
                  <a:cubicBezTo>
                    <a:pt x="3448" y="1187"/>
                    <a:pt x="3468" y="1194"/>
                    <a:pt x="3495" y="121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8" name="Freeform 44"/>
            <p:cNvSpPr>
              <a:spLocks noChangeArrowheads="1"/>
            </p:cNvSpPr>
            <p:nvPr/>
          </p:nvSpPr>
          <p:spPr bwMode="auto">
            <a:xfrm>
              <a:off x="6150369" y="9329732"/>
              <a:ext cx="1268330" cy="1212850"/>
            </a:xfrm>
            <a:custGeom>
              <a:avLst/>
              <a:gdLst>
                <a:gd name="T0" fmla="*/ 1827 w 3522"/>
                <a:gd name="T1" fmla="*/ 39 h 3371"/>
                <a:gd name="T2" fmla="*/ 2142 w 3522"/>
                <a:gd name="T3" fmla="*/ 0 h 3371"/>
                <a:gd name="T4" fmla="*/ 2525 w 3522"/>
                <a:gd name="T5" fmla="*/ 79 h 3371"/>
                <a:gd name="T6" fmla="*/ 2743 w 3522"/>
                <a:gd name="T7" fmla="*/ 197 h 3371"/>
                <a:gd name="T8" fmla="*/ 3152 w 3522"/>
                <a:gd name="T9" fmla="*/ 652 h 3371"/>
                <a:gd name="T10" fmla="*/ 3382 w 3522"/>
                <a:gd name="T11" fmla="*/ 850 h 3371"/>
                <a:gd name="T12" fmla="*/ 3330 w 3522"/>
                <a:gd name="T13" fmla="*/ 1127 h 3371"/>
                <a:gd name="T14" fmla="*/ 3521 w 3522"/>
                <a:gd name="T15" fmla="*/ 1233 h 3371"/>
                <a:gd name="T16" fmla="*/ 3323 w 3522"/>
                <a:gd name="T17" fmla="*/ 1457 h 3371"/>
                <a:gd name="T18" fmla="*/ 2921 w 3522"/>
                <a:gd name="T19" fmla="*/ 2156 h 3371"/>
                <a:gd name="T20" fmla="*/ 2307 w 3522"/>
                <a:gd name="T21" fmla="*/ 2585 h 3371"/>
                <a:gd name="T22" fmla="*/ 2307 w 3522"/>
                <a:gd name="T23" fmla="*/ 2413 h 3371"/>
                <a:gd name="T24" fmla="*/ 2558 w 3522"/>
                <a:gd name="T25" fmla="*/ 2347 h 3371"/>
                <a:gd name="T26" fmla="*/ 2690 w 3522"/>
                <a:gd name="T27" fmla="*/ 2209 h 3371"/>
                <a:gd name="T28" fmla="*/ 2835 w 3522"/>
                <a:gd name="T29" fmla="*/ 2044 h 3371"/>
                <a:gd name="T30" fmla="*/ 2980 w 3522"/>
                <a:gd name="T31" fmla="*/ 1827 h 3371"/>
                <a:gd name="T32" fmla="*/ 3059 w 3522"/>
                <a:gd name="T33" fmla="*/ 1714 h 3371"/>
                <a:gd name="T34" fmla="*/ 3020 w 3522"/>
                <a:gd name="T35" fmla="*/ 1688 h 3371"/>
                <a:gd name="T36" fmla="*/ 2756 w 3522"/>
                <a:gd name="T37" fmla="*/ 1596 h 3371"/>
                <a:gd name="T38" fmla="*/ 2703 w 3522"/>
                <a:gd name="T39" fmla="*/ 1787 h 3371"/>
                <a:gd name="T40" fmla="*/ 2558 w 3522"/>
                <a:gd name="T41" fmla="*/ 2117 h 3371"/>
                <a:gd name="T42" fmla="*/ 2202 w 3522"/>
                <a:gd name="T43" fmla="*/ 2413 h 3371"/>
                <a:gd name="T44" fmla="*/ 2195 w 3522"/>
                <a:gd name="T45" fmla="*/ 2724 h 3371"/>
                <a:gd name="T46" fmla="*/ 2024 w 3522"/>
                <a:gd name="T47" fmla="*/ 3126 h 3371"/>
                <a:gd name="T48" fmla="*/ 1695 w 3522"/>
                <a:gd name="T49" fmla="*/ 3370 h 3371"/>
                <a:gd name="T50" fmla="*/ 1642 w 3522"/>
                <a:gd name="T51" fmla="*/ 3146 h 3371"/>
                <a:gd name="T52" fmla="*/ 1682 w 3522"/>
                <a:gd name="T53" fmla="*/ 3034 h 3371"/>
                <a:gd name="T54" fmla="*/ 1721 w 3522"/>
                <a:gd name="T55" fmla="*/ 2987 h 3371"/>
                <a:gd name="T56" fmla="*/ 1767 w 3522"/>
                <a:gd name="T57" fmla="*/ 2935 h 3371"/>
                <a:gd name="T58" fmla="*/ 1774 w 3522"/>
                <a:gd name="T59" fmla="*/ 2915 h 3371"/>
                <a:gd name="T60" fmla="*/ 1668 w 3522"/>
                <a:gd name="T61" fmla="*/ 2710 h 3371"/>
                <a:gd name="T62" fmla="*/ 1286 w 3522"/>
                <a:gd name="T63" fmla="*/ 2334 h 3371"/>
                <a:gd name="T64" fmla="*/ 1042 w 3522"/>
                <a:gd name="T65" fmla="*/ 2156 h 3371"/>
                <a:gd name="T66" fmla="*/ 910 w 3522"/>
                <a:gd name="T67" fmla="*/ 2011 h 3371"/>
                <a:gd name="T68" fmla="*/ 626 w 3522"/>
                <a:gd name="T69" fmla="*/ 1932 h 3371"/>
                <a:gd name="T70" fmla="*/ 415 w 3522"/>
                <a:gd name="T71" fmla="*/ 1602 h 3371"/>
                <a:gd name="T72" fmla="*/ 151 w 3522"/>
                <a:gd name="T73" fmla="*/ 1523 h 3371"/>
                <a:gd name="T74" fmla="*/ 0 w 3522"/>
                <a:gd name="T75" fmla="*/ 1444 h 3371"/>
                <a:gd name="T76" fmla="*/ 204 w 3522"/>
                <a:gd name="T77" fmla="*/ 1206 h 3371"/>
                <a:gd name="T78" fmla="*/ 462 w 3522"/>
                <a:gd name="T79" fmla="*/ 1015 h 3371"/>
                <a:gd name="T80" fmla="*/ 679 w 3522"/>
                <a:gd name="T81" fmla="*/ 811 h 3371"/>
                <a:gd name="T82" fmla="*/ 778 w 3522"/>
                <a:gd name="T83" fmla="*/ 633 h 3371"/>
                <a:gd name="T84" fmla="*/ 917 w 3522"/>
                <a:gd name="T85" fmla="*/ 633 h 3371"/>
                <a:gd name="T86" fmla="*/ 969 w 3522"/>
                <a:gd name="T87" fmla="*/ 468 h 3371"/>
                <a:gd name="T88" fmla="*/ 1207 w 3522"/>
                <a:gd name="T89" fmla="*/ 283 h 3371"/>
                <a:gd name="T90" fmla="*/ 1418 w 3522"/>
                <a:gd name="T91" fmla="*/ 98 h 3371"/>
                <a:gd name="T92" fmla="*/ 1622 w 3522"/>
                <a:gd name="T93" fmla="*/ 26 h 3371"/>
                <a:gd name="T94" fmla="*/ 1728 w 3522"/>
                <a:gd name="T95" fmla="*/ 19 h 3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22" h="3371">
                  <a:moveTo>
                    <a:pt x="1735" y="13"/>
                  </a:moveTo>
                  <a:lnTo>
                    <a:pt x="1735" y="13"/>
                  </a:lnTo>
                  <a:cubicBezTo>
                    <a:pt x="1767" y="13"/>
                    <a:pt x="1794" y="39"/>
                    <a:pt x="1827" y="39"/>
                  </a:cubicBezTo>
                  <a:cubicBezTo>
                    <a:pt x="1873" y="39"/>
                    <a:pt x="1893" y="13"/>
                    <a:pt x="1939" y="13"/>
                  </a:cubicBezTo>
                  <a:cubicBezTo>
                    <a:pt x="1979" y="13"/>
                    <a:pt x="1992" y="52"/>
                    <a:pt x="2030" y="52"/>
                  </a:cubicBezTo>
                  <a:cubicBezTo>
                    <a:pt x="2077" y="52"/>
                    <a:pt x="2096" y="0"/>
                    <a:pt x="2142" y="0"/>
                  </a:cubicBezTo>
                  <a:cubicBezTo>
                    <a:pt x="2182" y="0"/>
                    <a:pt x="2195" y="52"/>
                    <a:pt x="2235" y="52"/>
                  </a:cubicBezTo>
                  <a:cubicBezTo>
                    <a:pt x="2281" y="52"/>
                    <a:pt x="2307" y="52"/>
                    <a:pt x="2353" y="52"/>
                  </a:cubicBezTo>
                  <a:cubicBezTo>
                    <a:pt x="2419" y="52"/>
                    <a:pt x="2459" y="65"/>
                    <a:pt x="2525" y="79"/>
                  </a:cubicBezTo>
                  <a:cubicBezTo>
                    <a:pt x="2551" y="85"/>
                    <a:pt x="2584" y="85"/>
                    <a:pt x="2591" y="112"/>
                  </a:cubicBezTo>
                  <a:cubicBezTo>
                    <a:pt x="2598" y="138"/>
                    <a:pt x="2591" y="178"/>
                    <a:pt x="2617" y="184"/>
                  </a:cubicBezTo>
                  <a:cubicBezTo>
                    <a:pt x="2663" y="197"/>
                    <a:pt x="2696" y="178"/>
                    <a:pt x="2743" y="197"/>
                  </a:cubicBezTo>
                  <a:cubicBezTo>
                    <a:pt x="2769" y="204"/>
                    <a:pt x="2776" y="217"/>
                    <a:pt x="2795" y="237"/>
                  </a:cubicBezTo>
                  <a:cubicBezTo>
                    <a:pt x="2848" y="290"/>
                    <a:pt x="2881" y="316"/>
                    <a:pt x="2907" y="382"/>
                  </a:cubicBezTo>
                  <a:cubicBezTo>
                    <a:pt x="2960" y="514"/>
                    <a:pt x="3092" y="520"/>
                    <a:pt x="3152" y="652"/>
                  </a:cubicBezTo>
                  <a:cubicBezTo>
                    <a:pt x="3165" y="679"/>
                    <a:pt x="3178" y="712"/>
                    <a:pt x="3211" y="718"/>
                  </a:cubicBezTo>
                  <a:cubicBezTo>
                    <a:pt x="3250" y="738"/>
                    <a:pt x="3277" y="725"/>
                    <a:pt x="3317" y="738"/>
                  </a:cubicBezTo>
                  <a:cubicBezTo>
                    <a:pt x="3363" y="758"/>
                    <a:pt x="3382" y="804"/>
                    <a:pt x="3382" y="850"/>
                  </a:cubicBezTo>
                  <a:cubicBezTo>
                    <a:pt x="3382" y="903"/>
                    <a:pt x="3382" y="930"/>
                    <a:pt x="3382" y="976"/>
                  </a:cubicBezTo>
                  <a:cubicBezTo>
                    <a:pt x="3382" y="989"/>
                    <a:pt x="3389" y="995"/>
                    <a:pt x="3389" y="1009"/>
                  </a:cubicBezTo>
                  <a:cubicBezTo>
                    <a:pt x="3389" y="1061"/>
                    <a:pt x="3349" y="1081"/>
                    <a:pt x="3330" y="1127"/>
                  </a:cubicBezTo>
                  <a:cubicBezTo>
                    <a:pt x="3317" y="1154"/>
                    <a:pt x="3317" y="1174"/>
                    <a:pt x="3303" y="1193"/>
                  </a:cubicBezTo>
                  <a:cubicBezTo>
                    <a:pt x="3343" y="1200"/>
                    <a:pt x="3363" y="1193"/>
                    <a:pt x="3396" y="1193"/>
                  </a:cubicBezTo>
                  <a:cubicBezTo>
                    <a:pt x="3442" y="1193"/>
                    <a:pt x="3475" y="1206"/>
                    <a:pt x="3521" y="1233"/>
                  </a:cubicBezTo>
                  <a:lnTo>
                    <a:pt x="3521" y="1233"/>
                  </a:lnTo>
                  <a:cubicBezTo>
                    <a:pt x="3501" y="1259"/>
                    <a:pt x="3481" y="1292"/>
                    <a:pt x="3448" y="1325"/>
                  </a:cubicBezTo>
                  <a:cubicBezTo>
                    <a:pt x="3402" y="1378"/>
                    <a:pt x="3376" y="1411"/>
                    <a:pt x="3323" y="1457"/>
                  </a:cubicBezTo>
                  <a:cubicBezTo>
                    <a:pt x="3303" y="1484"/>
                    <a:pt x="3277" y="1497"/>
                    <a:pt x="3264" y="1523"/>
                  </a:cubicBezTo>
                  <a:cubicBezTo>
                    <a:pt x="3204" y="1629"/>
                    <a:pt x="3178" y="1695"/>
                    <a:pt x="3145" y="1813"/>
                  </a:cubicBezTo>
                  <a:cubicBezTo>
                    <a:pt x="3099" y="1965"/>
                    <a:pt x="3033" y="2044"/>
                    <a:pt x="2921" y="2156"/>
                  </a:cubicBezTo>
                  <a:cubicBezTo>
                    <a:pt x="2875" y="2202"/>
                    <a:pt x="2842" y="2229"/>
                    <a:pt x="2782" y="2268"/>
                  </a:cubicBezTo>
                  <a:cubicBezTo>
                    <a:pt x="2663" y="2354"/>
                    <a:pt x="2598" y="2407"/>
                    <a:pt x="2479" y="2486"/>
                  </a:cubicBezTo>
                  <a:cubicBezTo>
                    <a:pt x="2413" y="2526"/>
                    <a:pt x="2360" y="2526"/>
                    <a:pt x="2307" y="2585"/>
                  </a:cubicBezTo>
                  <a:lnTo>
                    <a:pt x="2307" y="2585"/>
                  </a:lnTo>
                  <a:cubicBezTo>
                    <a:pt x="2307" y="2413"/>
                    <a:pt x="2307" y="2413"/>
                    <a:pt x="2307" y="2413"/>
                  </a:cubicBezTo>
                  <a:lnTo>
                    <a:pt x="2307" y="2413"/>
                  </a:lnTo>
                  <a:cubicBezTo>
                    <a:pt x="2340" y="2433"/>
                    <a:pt x="2360" y="2446"/>
                    <a:pt x="2400" y="2446"/>
                  </a:cubicBezTo>
                  <a:cubicBezTo>
                    <a:pt x="2439" y="2440"/>
                    <a:pt x="2452" y="2400"/>
                    <a:pt x="2492" y="2381"/>
                  </a:cubicBezTo>
                  <a:cubicBezTo>
                    <a:pt x="2518" y="2367"/>
                    <a:pt x="2538" y="2361"/>
                    <a:pt x="2558" y="2347"/>
                  </a:cubicBezTo>
                  <a:cubicBezTo>
                    <a:pt x="2578" y="2341"/>
                    <a:pt x="2584" y="2314"/>
                    <a:pt x="2611" y="2308"/>
                  </a:cubicBezTo>
                  <a:cubicBezTo>
                    <a:pt x="2644" y="2295"/>
                    <a:pt x="2690" y="2288"/>
                    <a:pt x="2690" y="2255"/>
                  </a:cubicBezTo>
                  <a:cubicBezTo>
                    <a:pt x="2690" y="2235"/>
                    <a:pt x="2690" y="2222"/>
                    <a:pt x="2690" y="2209"/>
                  </a:cubicBezTo>
                  <a:cubicBezTo>
                    <a:pt x="2690" y="2169"/>
                    <a:pt x="2696" y="2143"/>
                    <a:pt x="2723" y="2117"/>
                  </a:cubicBezTo>
                  <a:cubicBezTo>
                    <a:pt x="2743" y="2090"/>
                    <a:pt x="2776" y="2117"/>
                    <a:pt x="2802" y="2103"/>
                  </a:cubicBezTo>
                  <a:cubicBezTo>
                    <a:pt x="2822" y="2084"/>
                    <a:pt x="2822" y="2064"/>
                    <a:pt x="2835" y="2044"/>
                  </a:cubicBezTo>
                  <a:cubicBezTo>
                    <a:pt x="2842" y="2024"/>
                    <a:pt x="2861" y="2011"/>
                    <a:pt x="2875" y="1998"/>
                  </a:cubicBezTo>
                  <a:cubicBezTo>
                    <a:pt x="2901" y="1958"/>
                    <a:pt x="2941" y="1952"/>
                    <a:pt x="2954" y="1906"/>
                  </a:cubicBezTo>
                  <a:cubicBezTo>
                    <a:pt x="2960" y="1873"/>
                    <a:pt x="2967" y="1853"/>
                    <a:pt x="2980" y="1827"/>
                  </a:cubicBezTo>
                  <a:cubicBezTo>
                    <a:pt x="2987" y="1800"/>
                    <a:pt x="2993" y="1767"/>
                    <a:pt x="3020" y="1767"/>
                  </a:cubicBezTo>
                  <a:cubicBezTo>
                    <a:pt x="3033" y="1767"/>
                    <a:pt x="3039" y="1774"/>
                    <a:pt x="3046" y="1774"/>
                  </a:cubicBezTo>
                  <a:cubicBezTo>
                    <a:pt x="3059" y="1754"/>
                    <a:pt x="3059" y="1741"/>
                    <a:pt x="3059" y="1714"/>
                  </a:cubicBezTo>
                  <a:cubicBezTo>
                    <a:pt x="3059" y="1701"/>
                    <a:pt x="3059" y="1688"/>
                    <a:pt x="3059" y="1675"/>
                  </a:cubicBezTo>
                  <a:cubicBezTo>
                    <a:pt x="3059" y="1675"/>
                    <a:pt x="3053" y="1668"/>
                    <a:pt x="3046" y="1668"/>
                  </a:cubicBezTo>
                  <a:cubicBezTo>
                    <a:pt x="3033" y="1668"/>
                    <a:pt x="3033" y="1681"/>
                    <a:pt x="3020" y="1688"/>
                  </a:cubicBezTo>
                  <a:cubicBezTo>
                    <a:pt x="2993" y="1695"/>
                    <a:pt x="2974" y="1701"/>
                    <a:pt x="2941" y="1701"/>
                  </a:cubicBezTo>
                  <a:cubicBezTo>
                    <a:pt x="2901" y="1701"/>
                    <a:pt x="2881" y="1681"/>
                    <a:pt x="2855" y="1655"/>
                  </a:cubicBezTo>
                  <a:cubicBezTo>
                    <a:pt x="2822" y="1622"/>
                    <a:pt x="2795" y="1622"/>
                    <a:pt x="2756" y="1596"/>
                  </a:cubicBezTo>
                  <a:cubicBezTo>
                    <a:pt x="2756" y="1615"/>
                    <a:pt x="2756" y="1629"/>
                    <a:pt x="2756" y="1648"/>
                  </a:cubicBezTo>
                  <a:cubicBezTo>
                    <a:pt x="2756" y="1675"/>
                    <a:pt x="2762" y="1695"/>
                    <a:pt x="2762" y="1721"/>
                  </a:cubicBezTo>
                  <a:cubicBezTo>
                    <a:pt x="2762" y="1760"/>
                    <a:pt x="2730" y="1760"/>
                    <a:pt x="2703" y="1787"/>
                  </a:cubicBezTo>
                  <a:cubicBezTo>
                    <a:pt x="2683" y="1813"/>
                    <a:pt x="2690" y="1833"/>
                    <a:pt x="2677" y="1859"/>
                  </a:cubicBezTo>
                  <a:cubicBezTo>
                    <a:pt x="2663" y="1886"/>
                    <a:pt x="2644" y="1892"/>
                    <a:pt x="2631" y="1912"/>
                  </a:cubicBezTo>
                  <a:cubicBezTo>
                    <a:pt x="2591" y="1985"/>
                    <a:pt x="2598" y="2044"/>
                    <a:pt x="2558" y="2117"/>
                  </a:cubicBezTo>
                  <a:cubicBezTo>
                    <a:pt x="2532" y="2169"/>
                    <a:pt x="2485" y="2169"/>
                    <a:pt x="2426" y="2196"/>
                  </a:cubicBezTo>
                  <a:cubicBezTo>
                    <a:pt x="2353" y="2229"/>
                    <a:pt x="2327" y="2275"/>
                    <a:pt x="2274" y="2328"/>
                  </a:cubicBezTo>
                  <a:cubicBezTo>
                    <a:pt x="2241" y="2354"/>
                    <a:pt x="2202" y="2367"/>
                    <a:pt x="2202" y="2413"/>
                  </a:cubicBezTo>
                  <a:cubicBezTo>
                    <a:pt x="2202" y="2440"/>
                    <a:pt x="2228" y="2453"/>
                    <a:pt x="2235" y="2480"/>
                  </a:cubicBezTo>
                  <a:cubicBezTo>
                    <a:pt x="2241" y="2539"/>
                    <a:pt x="2228" y="2592"/>
                    <a:pt x="2274" y="2631"/>
                  </a:cubicBezTo>
                  <a:cubicBezTo>
                    <a:pt x="2255" y="2677"/>
                    <a:pt x="2215" y="2684"/>
                    <a:pt x="2195" y="2724"/>
                  </a:cubicBezTo>
                  <a:cubicBezTo>
                    <a:pt x="2129" y="2842"/>
                    <a:pt x="2136" y="2935"/>
                    <a:pt x="2063" y="3047"/>
                  </a:cubicBezTo>
                  <a:cubicBezTo>
                    <a:pt x="2050" y="3066"/>
                    <a:pt x="2037" y="3080"/>
                    <a:pt x="2030" y="3099"/>
                  </a:cubicBezTo>
                  <a:cubicBezTo>
                    <a:pt x="2024" y="3106"/>
                    <a:pt x="2030" y="3119"/>
                    <a:pt x="2024" y="3126"/>
                  </a:cubicBezTo>
                  <a:cubicBezTo>
                    <a:pt x="1939" y="3198"/>
                    <a:pt x="1899" y="3251"/>
                    <a:pt x="1807" y="3297"/>
                  </a:cubicBezTo>
                  <a:cubicBezTo>
                    <a:pt x="1761" y="3317"/>
                    <a:pt x="1728" y="3337"/>
                    <a:pt x="1695" y="3370"/>
                  </a:cubicBezTo>
                  <a:lnTo>
                    <a:pt x="1695" y="3370"/>
                  </a:lnTo>
                  <a:cubicBezTo>
                    <a:pt x="1649" y="3245"/>
                    <a:pt x="1649" y="3245"/>
                    <a:pt x="1649" y="3245"/>
                  </a:cubicBezTo>
                  <a:cubicBezTo>
                    <a:pt x="1649" y="3225"/>
                    <a:pt x="1642" y="3205"/>
                    <a:pt x="1642" y="3185"/>
                  </a:cubicBezTo>
                  <a:cubicBezTo>
                    <a:pt x="1642" y="3172"/>
                    <a:pt x="1642" y="3159"/>
                    <a:pt x="1642" y="3146"/>
                  </a:cubicBezTo>
                  <a:cubicBezTo>
                    <a:pt x="1642" y="3132"/>
                    <a:pt x="1649" y="3126"/>
                    <a:pt x="1649" y="3113"/>
                  </a:cubicBezTo>
                  <a:cubicBezTo>
                    <a:pt x="1655" y="3086"/>
                    <a:pt x="1662" y="3073"/>
                    <a:pt x="1668" y="3053"/>
                  </a:cubicBezTo>
                  <a:cubicBezTo>
                    <a:pt x="1675" y="3047"/>
                    <a:pt x="1675" y="3040"/>
                    <a:pt x="1682" y="3034"/>
                  </a:cubicBezTo>
                  <a:cubicBezTo>
                    <a:pt x="1688" y="3020"/>
                    <a:pt x="1695" y="3014"/>
                    <a:pt x="1708" y="3000"/>
                  </a:cubicBezTo>
                  <a:cubicBezTo>
                    <a:pt x="1708" y="3000"/>
                    <a:pt x="1708" y="2994"/>
                    <a:pt x="1715" y="2994"/>
                  </a:cubicBezTo>
                  <a:cubicBezTo>
                    <a:pt x="1715" y="2987"/>
                    <a:pt x="1721" y="2987"/>
                    <a:pt x="1721" y="2987"/>
                  </a:cubicBezTo>
                  <a:cubicBezTo>
                    <a:pt x="1728" y="2981"/>
                    <a:pt x="1735" y="2981"/>
                    <a:pt x="1735" y="2974"/>
                  </a:cubicBezTo>
                  <a:cubicBezTo>
                    <a:pt x="1748" y="2961"/>
                    <a:pt x="1748" y="2954"/>
                    <a:pt x="1761" y="2941"/>
                  </a:cubicBezTo>
                  <a:cubicBezTo>
                    <a:pt x="1761" y="2935"/>
                    <a:pt x="1767" y="2935"/>
                    <a:pt x="1767" y="2935"/>
                  </a:cubicBezTo>
                  <a:cubicBezTo>
                    <a:pt x="1767" y="2928"/>
                    <a:pt x="1767" y="2928"/>
                    <a:pt x="1767" y="2928"/>
                  </a:cubicBezTo>
                  <a:lnTo>
                    <a:pt x="1767" y="2928"/>
                  </a:lnTo>
                  <a:cubicBezTo>
                    <a:pt x="1774" y="2921"/>
                    <a:pt x="1774" y="2921"/>
                    <a:pt x="1774" y="2915"/>
                  </a:cubicBezTo>
                  <a:cubicBezTo>
                    <a:pt x="1774" y="2908"/>
                    <a:pt x="1781" y="2902"/>
                    <a:pt x="1781" y="2888"/>
                  </a:cubicBezTo>
                  <a:cubicBezTo>
                    <a:pt x="1781" y="2869"/>
                    <a:pt x="1767" y="2855"/>
                    <a:pt x="1767" y="2836"/>
                  </a:cubicBezTo>
                  <a:cubicBezTo>
                    <a:pt x="1767" y="2776"/>
                    <a:pt x="1708" y="2756"/>
                    <a:pt x="1668" y="2710"/>
                  </a:cubicBezTo>
                  <a:cubicBezTo>
                    <a:pt x="1629" y="2664"/>
                    <a:pt x="1642" y="2598"/>
                    <a:pt x="1589" y="2565"/>
                  </a:cubicBezTo>
                  <a:cubicBezTo>
                    <a:pt x="1530" y="2532"/>
                    <a:pt x="1477" y="2532"/>
                    <a:pt x="1431" y="2480"/>
                  </a:cubicBezTo>
                  <a:cubicBezTo>
                    <a:pt x="1378" y="2420"/>
                    <a:pt x="1345" y="2387"/>
                    <a:pt x="1286" y="2334"/>
                  </a:cubicBezTo>
                  <a:cubicBezTo>
                    <a:pt x="1246" y="2301"/>
                    <a:pt x="1273" y="2249"/>
                    <a:pt x="1227" y="2222"/>
                  </a:cubicBezTo>
                  <a:cubicBezTo>
                    <a:pt x="1187" y="2189"/>
                    <a:pt x="1154" y="2183"/>
                    <a:pt x="1108" y="2163"/>
                  </a:cubicBezTo>
                  <a:cubicBezTo>
                    <a:pt x="1088" y="2150"/>
                    <a:pt x="1068" y="2163"/>
                    <a:pt x="1042" y="2156"/>
                  </a:cubicBezTo>
                  <a:cubicBezTo>
                    <a:pt x="1022" y="2150"/>
                    <a:pt x="1002" y="2156"/>
                    <a:pt x="989" y="2143"/>
                  </a:cubicBezTo>
                  <a:cubicBezTo>
                    <a:pt x="969" y="2130"/>
                    <a:pt x="976" y="2110"/>
                    <a:pt x="969" y="2084"/>
                  </a:cubicBezTo>
                  <a:cubicBezTo>
                    <a:pt x="956" y="2051"/>
                    <a:pt x="936" y="2038"/>
                    <a:pt x="910" y="2011"/>
                  </a:cubicBezTo>
                  <a:cubicBezTo>
                    <a:pt x="884" y="1965"/>
                    <a:pt x="857" y="1926"/>
                    <a:pt x="811" y="1926"/>
                  </a:cubicBezTo>
                  <a:cubicBezTo>
                    <a:pt x="745" y="1926"/>
                    <a:pt x="725" y="1978"/>
                    <a:pt x="659" y="1978"/>
                  </a:cubicBezTo>
                  <a:cubicBezTo>
                    <a:pt x="639" y="1978"/>
                    <a:pt x="633" y="1952"/>
                    <a:pt x="626" y="1932"/>
                  </a:cubicBezTo>
                  <a:cubicBezTo>
                    <a:pt x="620" y="1906"/>
                    <a:pt x="607" y="1892"/>
                    <a:pt x="607" y="1873"/>
                  </a:cubicBezTo>
                  <a:cubicBezTo>
                    <a:pt x="593" y="1807"/>
                    <a:pt x="580" y="1767"/>
                    <a:pt x="541" y="1721"/>
                  </a:cubicBezTo>
                  <a:cubicBezTo>
                    <a:pt x="494" y="1675"/>
                    <a:pt x="468" y="1648"/>
                    <a:pt x="415" y="1602"/>
                  </a:cubicBezTo>
                  <a:cubicBezTo>
                    <a:pt x="402" y="1589"/>
                    <a:pt x="382" y="1576"/>
                    <a:pt x="376" y="1549"/>
                  </a:cubicBezTo>
                  <a:cubicBezTo>
                    <a:pt x="363" y="1516"/>
                    <a:pt x="349" y="1490"/>
                    <a:pt x="310" y="1490"/>
                  </a:cubicBezTo>
                  <a:cubicBezTo>
                    <a:pt x="250" y="1490"/>
                    <a:pt x="211" y="1523"/>
                    <a:pt x="151" y="1523"/>
                  </a:cubicBezTo>
                  <a:cubicBezTo>
                    <a:pt x="92" y="1523"/>
                    <a:pt x="59" y="1503"/>
                    <a:pt x="6" y="1470"/>
                  </a:cubicBezTo>
                  <a:lnTo>
                    <a:pt x="6" y="1470"/>
                  </a:lnTo>
                  <a:cubicBezTo>
                    <a:pt x="6" y="1457"/>
                    <a:pt x="0" y="1450"/>
                    <a:pt x="0" y="1444"/>
                  </a:cubicBezTo>
                  <a:cubicBezTo>
                    <a:pt x="0" y="1398"/>
                    <a:pt x="53" y="1398"/>
                    <a:pt x="85" y="1378"/>
                  </a:cubicBezTo>
                  <a:cubicBezTo>
                    <a:pt x="125" y="1352"/>
                    <a:pt x="132" y="1325"/>
                    <a:pt x="158" y="1286"/>
                  </a:cubicBezTo>
                  <a:cubicBezTo>
                    <a:pt x="171" y="1253"/>
                    <a:pt x="171" y="1226"/>
                    <a:pt x="204" y="1206"/>
                  </a:cubicBezTo>
                  <a:cubicBezTo>
                    <a:pt x="244" y="1187"/>
                    <a:pt x="283" y="1180"/>
                    <a:pt x="303" y="1141"/>
                  </a:cubicBezTo>
                  <a:cubicBezTo>
                    <a:pt x="349" y="1121"/>
                    <a:pt x="363" y="1094"/>
                    <a:pt x="402" y="1068"/>
                  </a:cubicBezTo>
                  <a:cubicBezTo>
                    <a:pt x="428" y="1048"/>
                    <a:pt x="455" y="1048"/>
                    <a:pt x="462" y="1015"/>
                  </a:cubicBezTo>
                  <a:cubicBezTo>
                    <a:pt x="475" y="989"/>
                    <a:pt x="462" y="969"/>
                    <a:pt x="475" y="943"/>
                  </a:cubicBezTo>
                  <a:cubicBezTo>
                    <a:pt x="501" y="903"/>
                    <a:pt x="554" y="923"/>
                    <a:pt x="587" y="897"/>
                  </a:cubicBezTo>
                  <a:cubicBezTo>
                    <a:pt x="620" y="863"/>
                    <a:pt x="646" y="850"/>
                    <a:pt x="679" y="811"/>
                  </a:cubicBezTo>
                  <a:cubicBezTo>
                    <a:pt x="699" y="784"/>
                    <a:pt x="706" y="758"/>
                    <a:pt x="732" y="725"/>
                  </a:cubicBezTo>
                  <a:cubicBezTo>
                    <a:pt x="745" y="712"/>
                    <a:pt x="765" y="712"/>
                    <a:pt x="771" y="692"/>
                  </a:cubicBezTo>
                  <a:cubicBezTo>
                    <a:pt x="771" y="672"/>
                    <a:pt x="765" y="652"/>
                    <a:pt x="778" y="633"/>
                  </a:cubicBezTo>
                  <a:cubicBezTo>
                    <a:pt x="785" y="626"/>
                    <a:pt x="798" y="633"/>
                    <a:pt x="804" y="619"/>
                  </a:cubicBezTo>
                  <a:cubicBezTo>
                    <a:pt x="824" y="606"/>
                    <a:pt x="837" y="587"/>
                    <a:pt x="864" y="587"/>
                  </a:cubicBezTo>
                  <a:cubicBezTo>
                    <a:pt x="890" y="587"/>
                    <a:pt x="890" y="626"/>
                    <a:pt x="917" y="633"/>
                  </a:cubicBezTo>
                  <a:cubicBezTo>
                    <a:pt x="950" y="652"/>
                    <a:pt x="982" y="606"/>
                    <a:pt x="982" y="567"/>
                  </a:cubicBezTo>
                  <a:cubicBezTo>
                    <a:pt x="982" y="547"/>
                    <a:pt x="969" y="534"/>
                    <a:pt x="969" y="514"/>
                  </a:cubicBezTo>
                  <a:cubicBezTo>
                    <a:pt x="969" y="494"/>
                    <a:pt x="956" y="481"/>
                    <a:pt x="969" y="468"/>
                  </a:cubicBezTo>
                  <a:cubicBezTo>
                    <a:pt x="989" y="455"/>
                    <a:pt x="1009" y="481"/>
                    <a:pt x="1029" y="468"/>
                  </a:cubicBezTo>
                  <a:cubicBezTo>
                    <a:pt x="1114" y="422"/>
                    <a:pt x="1114" y="316"/>
                    <a:pt x="1207" y="296"/>
                  </a:cubicBezTo>
                  <a:cubicBezTo>
                    <a:pt x="1207" y="290"/>
                    <a:pt x="1207" y="290"/>
                    <a:pt x="1207" y="283"/>
                  </a:cubicBezTo>
                  <a:cubicBezTo>
                    <a:pt x="1207" y="257"/>
                    <a:pt x="1200" y="244"/>
                    <a:pt x="1213" y="230"/>
                  </a:cubicBezTo>
                  <a:cubicBezTo>
                    <a:pt x="1233" y="204"/>
                    <a:pt x="1266" y="224"/>
                    <a:pt x="1299" y="204"/>
                  </a:cubicBezTo>
                  <a:cubicBezTo>
                    <a:pt x="1352" y="178"/>
                    <a:pt x="1352" y="98"/>
                    <a:pt x="1418" y="98"/>
                  </a:cubicBezTo>
                  <a:cubicBezTo>
                    <a:pt x="1444" y="98"/>
                    <a:pt x="1464" y="105"/>
                    <a:pt x="1491" y="105"/>
                  </a:cubicBezTo>
                  <a:cubicBezTo>
                    <a:pt x="1510" y="105"/>
                    <a:pt x="1517" y="85"/>
                    <a:pt x="1530" y="79"/>
                  </a:cubicBezTo>
                  <a:cubicBezTo>
                    <a:pt x="1563" y="52"/>
                    <a:pt x="1583" y="46"/>
                    <a:pt x="1622" y="26"/>
                  </a:cubicBezTo>
                  <a:cubicBezTo>
                    <a:pt x="1642" y="19"/>
                    <a:pt x="1655" y="13"/>
                    <a:pt x="1675" y="13"/>
                  </a:cubicBezTo>
                  <a:lnTo>
                    <a:pt x="1682" y="6"/>
                  </a:lnTo>
                  <a:cubicBezTo>
                    <a:pt x="1702" y="6"/>
                    <a:pt x="1708" y="19"/>
                    <a:pt x="1728" y="19"/>
                  </a:cubicBezTo>
                  <a:lnTo>
                    <a:pt x="1735" y="13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9" name="Freeform 45"/>
            <p:cNvSpPr>
              <a:spLocks noChangeArrowheads="1"/>
            </p:cNvSpPr>
            <p:nvPr/>
          </p:nvSpPr>
          <p:spPr bwMode="auto">
            <a:xfrm>
              <a:off x="6775804" y="9153520"/>
              <a:ext cx="887355" cy="620713"/>
            </a:xfrm>
            <a:custGeom>
              <a:avLst/>
              <a:gdLst>
                <a:gd name="T0" fmla="*/ 0 w 2466"/>
                <a:gd name="T1" fmla="*/ 502 h 1723"/>
                <a:gd name="T2" fmla="*/ 92 w 2466"/>
                <a:gd name="T3" fmla="*/ 357 h 1723"/>
                <a:gd name="T4" fmla="*/ 125 w 2466"/>
                <a:gd name="T5" fmla="*/ 112 h 1723"/>
                <a:gd name="T6" fmla="*/ 138 w 2466"/>
                <a:gd name="T7" fmla="*/ 53 h 1723"/>
                <a:gd name="T8" fmla="*/ 263 w 2466"/>
                <a:gd name="T9" fmla="*/ 60 h 1723"/>
                <a:gd name="T10" fmla="*/ 440 w 2466"/>
                <a:gd name="T11" fmla="*/ 80 h 1723"/>
                <a:gd name="T12" fmla="*/ 665 w 2466"/>
                <a:gd name="T13" fmla="*/ 119 h 1723"/>
                <a:gd name="T14" fmla="*/ 1034 w 2466"/>
                <a:gd name="T15" fmla="*/ 258 h 1723"/>
                <a:gd name="T16" fmla="*/ 1166 w 2466"/>
                <a:gd name="T17" fmla="*/ 337 h 1723"/>
                <a:gd name="T18" fmla="*/ 1271 w 2466"/>
                <a:gd name="T19" fmla="*/ 165 h 1723"/>
                <a:gd name="T20" fmla="*/ 1542 w 2466"/>
                <a:gd name="T21" fmla="*/ 0 h 1723"/>
                <a:gd name="T22" fmla="*/ 2129 w 2466"/>
                <a:gd name="T23" fmla="*/ 119 h 1723"/>
                <a:gd name="T24" fmla="*/ 2439 w 2466"/>
                <a:gd name="T25" fmla="*/ 132 h 1723"/>
                <a:gd name="T26" fmla="*/ 2393 w 2466"/>
                <a:gd name="T27" fmla="*/ 179 h 1723"/>
                <a:gd name="T28" fmla="*/ 2446 w 2466"/>
                <a:gd name="T29" fmla="*/ 317 h 1723"/>
                <a:gd name="T30" fmla="*/ 2465 w 2466"/>
                <a:gd name="T31" fmla="*/ 680 h 1723"/>
                <a:gd name="T32" fmla="*/ 2419 w 2466"/>
                <a:gd name="T33" fmla="*/ 766 h 1723"/>
                <a:gd name="T34" fmla="*/ 2360 w 2466"/>
                <a:gd name="T35" fmla="*/ 1003 h 1723"/>
                <a:gd name="T36" fmla="*/ 2294 w 2466"/>
                <a:gd name="T37" fmla="*/ 1207 h 1723"/>
                <a:gd name="T38" fmla="*/ 2188 w 2466"/>
                <a:gd name="T39" fmla="*/ 1300 h 1723"/>
                <a:gd name="T40" fmla="*/ 2208 w 2466"/>
                <a:gd name="T41" fmla="*/ 1386 h 1723"/>
                <a:gd name="T42" fmla="*/ 2142 w 2466"/>
                <a:gd name="T43" fmla="*/ 1392 h 1723"/>
                <a:gd name="T44" fmla="*/ 1911 w 2466"/>
                <a:gd name="T45" fmla="*/ 1577 h 1723"/>
                <a:gd name="T46" fmla="*/ 1786 w 2466"/>
                <a:gd name="T47" fmla="*/ 1722 h 1723"/>
                <a:gd name="T48" fmla="*/ 1568 w 2466"/>
                <a:gd name="T49" fmla="*/ 1682 h 1723"/>
                <a:gd name="T50" fmla="*/ 1654 w 2466"/>
                <a:gd name="T51" fmla="*/ 1498 h 1723"/>
                <a:gd name="T52" fmla="*/ 1647 w 2466"/>
                <a:gd name="T53" fmla="*/ 1339 h 1723"/>
                <a:gd name="T54" fmla="*/ 1476 w 2466"/>
                <a:gd name="T55" fmla="*/ 1207 h 1723"/>
                <a:gd name="T56" fmla="*/ 1172 w 2466"/>
                <a:gd name="T57" fmla="*/ 871 h 1723"/>
                <a:gd name="T58" fmla="*/ 1008 w 2466"/>
                <a:gd name="T59" fmla="*/ 686 h 1723"/>
                <a:gd name="T60" fmla="*/ 856 w 2466"/>
                <a:gd name="T61" fmla="*/ 601 h 1723"/>
                <a:gd name="T62" fmla="*/ 618 w 2466"/>
                <a:gd name="T63" fmla="*/ 541 h 1723"/>
                <a:gd name="T64" fmla="*/ 407 w 2466"/>
                <a:gd name="T65" fmla="*/ 489 h 1723"/>
                <a:gd name="T66" fmla="*/ 204 w 2466"/>
                <a:gd name="T67" fmla="*/ 502 h 1723"/>
                <a:gd name="T68" fmla="*/ 0 w 2466"/>
                <a:gd name="T69" fmla="*/ 502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66" h="1723">
                  <a:moveTo>
                    <a:pt x="0" y="502"/>
                  </a:moveTo>
                  <a:lnTo>
                    <a:pt x="0" y="502"/>
                  </a:lnTo>
                  <a:cubicBezTo>
                    <a:pt x="19" y="489"/>
                    <a:pt x="32" y="462"/>
                    <a:pt x="39" y="442"/>
                  </a:cubicBezTo>
                  <a:cubicBezTo>
                    <a:pt x="59" y="409"/>
                    <a:pt x="72" y="390"/>
                    <a:pt x="92" y="357"/>
                  </a:cubicBezTo>
                  <a:cubicBezTo>
                    <a:pt x="118" y="304"/>
                    <a:pt x="158" y="278"/>
                    <a:pt x="158" y="225"/>
                  </a:cubicBezTo>
                  <a:cubicBezTo>
                    <a:pt x="158" y="179"/>
                    <a:pt x="125" y="159"/>
                    <a:pt x="125" y="112"/>
                  </a:cubicBezTo>
                  <a:cubicBezTo>
                    <a:pt x="125" y="86"/>
                    <a:pt x="131" y="66"/>
                    <a:pt x="138" y="53"/>
                  </a:cubicBezTo>
                  <a:lnTo>
                    <a:pt x="138" y="53"/>
                  </a:lnTo>
                  <a:cubicBezTo>
                    <a:pt x="158" y="53"/>
                    <a:pt x="171" y="60"/>
                    <a:pt x="184" y="60"/>
                  </a:cubicBezTo>
                  <a:cubicBezTo>
                    <a:pt x="217" y="60"/>
                    <a:pt x="230" y="60"/>
                    <a:pt x="263" y="60"/>
                  </a:cubicBezTo>
                  <a:cubicBezTo>
                    <a:pt x="302" y="60"/>
                    <a:pt x="315" y="27"/>
                    <a:pt x="355" y="27"/>
                  </a:cubicBezTo>
                  <a:cubicBezTo>
                    <a:pt x="394" y="27"/>
                    <a:pt x="407" y="66"/>
                    <a:pt x="440" y="80"/>
                  </a:cubicBezTo>
                  <a:cubicBezTo>
                    <a:pt x="493" y="106"/>
                    <a:pt x="526" y="119"/>
                    <a:pt x="585" y="119"/>
                  </a:cubicBezTo>
                  <a:cubicBezTo>
                    <a:pt x="618" y="119"/>
                    <a:pt x="632" y="119"/>
                    <a:pt x="665" y="119"/>
                  </a:cubicBezTo>
                  <a:cubicBezTo>
                    <a:pt x="717" y="119"/>
                    <a:pt x="737" y="146"/>
                    <a:pt x="790" y="159"/>
                  </a:cubicBezTo>
                  <a:cubicBezTo>
                    <a:pt x="889" y="185"/>
                    <a:pt x="942" y="218"/>
                    <a:pt x="1034" y="258"/>
                  </a:cubicBezTo>
                  <a:cubicBezTo>
                    <a:pt x="1060" y="271"/>
                    <a:pt x="1080" y="278"/>
                    <a:pt x="1107" y="291"/>
                  </a:cubicBezTo>
                  <a:cubicBezTo>
                    <a:pt x="1126" y="310"/>
                    <a:pt x="1140" y="337"/>
                    <a:pt x="1166" y="337"/>
                  </a:cubicBezTo>
                  <a:cubicBezTo>
                    <a:pt x="1212" y="337"/>
                    <a:pt x="1239" y="297"/>
                    <a:pt x="1252" y="251"/>
                  </a:cubicBezTo>
                  <a:cubicBezTo>
                    <a:pt x="1265" y="225"/>
                    <a:pt x="1252" y="192"/>
                    <a:pt x="1271" y="165"/>
                  </a:cubicBezTo>
                  <a:cubicBezTo>
                    <a:pt x="1285" y="152"/>
                    <a:pt x="1304" y="152"/>
                    <a:pt x="1324" y="146"/>
                  </a:cubicBezTo>
                  <a:cubicBezTo>
                    <a:pt x="1423" y="112"/>
                    <a:pt x="1443" y="0"/>
                    <a:pt x="1542" y="0"/>
                  </a:cubicBezTo>
                  <a:cubicBezTo>
                    <a:pt x="1707" y="0"/>
                    <a:pt x="1793" y="33"/>
                    <a:pt x="1951" y="73"/>
                  </a:cubicBezTo>
                  <a:cubicBezTo>
                    <a:pt x="2024" y="93"/>
                    <a:pt x="2056" y="119"/>
                    <a:pt x="2129" y="119"/>
                  </a:cubicBezTo>
                  <a:cubicBezTo>
                    <a:pt x="2162" y="119"/>
                    <a:pt x="2175" y="99"/>
                    <a:pt x="2201" y="99"/>
                  </a:cubicBezTo>
                  <a:cubicBezTo>
                    <a:pt x="2300" y="99"/>
                    <a:pt x="2340" y="119"/>
                    <a:pt x="2439" y="132"/>
                  </a:cubicBezTo>
                  <a:lnTo>
                    <a:pt x="2439" y="132"/>
                  </a:lnTo>
                  <a:cubicBezTo>
                    <a:pt x="2419" y="146"/>
                    <a:pt x="2393" y="152"/>
                    <a:pt x="2393" y="179"/>
                  </a:cubicBezTo>
                  <a:cubicBezTo>
                    <a:pt x="2393" y="198"/>
                    <a:pt x="2413" y="205"/>
                    <a:pt x="2419" y="225"/>
                  </a:cubicBezTo>
                  <a:cubicBezTo>
                    <a:pt x="2432" y="258"/>
                    <a:pt x="2446" y="284"/>
                    <a:pt x="2446" y="317"/>
                  </a:cubicBezTo>
                  <a:cubicBezTo>
                    <a:pt x="2446" y="403"/>
                    <a:pt x="2446" y="449"/>
                    <a:pt x="2446" y="528"/>
                  </a:cubicBezTo>
                  <a:cubicBezTo>
                    <a:pt x="2446" y="587"/>
                    <a:pt x="2465" y="620"/>
                    <a:pt x="2465" y="680"/>
                  </a:cubicBezTo>
                  <a:cubicBezTo>
                    <a:pt x="2465" y="706"/>
                    <a:pt x="2419" y="706"/>
                    <a:pt x="2419" y="733"/>
                  </a:cubicBezTo>
                  <a:cubicBezTo>
                    <a:pt x="2419" y="746"/>
                    <a:pt x="2419" y="759"/>
                    <a:pt x="2419" y="766"/>
                  </a:cubicBezTo>
                  <a:cubicBezTo>
                    <a:pt x="2419" y="805"/>
                    <a:pt x="2406" y="825"/>
                    <a:pt x="2393" y="858"/>
                  </a:cubicBezTo>
                  <a:cubicBezTo>
                    <a:pt x="2373" y="911"/>
                    <a:pt x="2373" y="944"/>
                    <a:pt x="2360" y="1003"/>
                  </a:cubicBezTo>
                  <a:cubicBezTo>
                    <a:pt x="2353" y="1023"/>
                    <a:pt x="2333" y="1036"/>
                    <a:pt x="2333" y="1062"/>
                  </a:cubicBezTo>
                  <a:cubicBezTo>
                    <a:pt x="2314" y="1115"/>
                    <a:pt x="2300" y="1148"/>
                    <a:pt x="2294" y="1207"/>
                  </a:cubicBezTo>
                  <a:cubicBezTo>
                    <a:pt x="2287" y="1254"/>
                    <a:pt x="2281" y="1313"/>
                    <a:pt x="2235" y="1313"/>
                  </a:cubicBezTo>
                  <a:cubicBezTo>
                    <a:pt x="2215" y="1313"/>
                    <a:pt x="2208" y="1300"/>
                    <a:pt x="2188" y="1300"/>
                  </a:cubicBezTo>
                  <a:cubicBezTo>
                    <a:pt x="2188" y="1306"/>
                    <a:pt x="2188" y="1313"/>
                    <a:pt x="2188" y="1320"/>
                  </a:cubicBezTo>
                  <a:cubicBezTo>
                    <a:pt x="2188" y="1346"/>
                    <a:pt x="2208" y="1359"/>
                    <a:pt x="2208" y="1386"/>
                  </a:cubicBezTo>
                  <a:cubicBezTo>
                    <a:pt x="2208" y="1392"/>
                    <a:pt x="2208" y="1399"/>
                    <a:pt x="2208" y="1412"/>
                  </a:cubicBezTo>
                  <a:cubicBezTo>
                    <a:pt x="2182" y="1399"/>
                    <a:pt x="2169" y="1392"/>
                    <a:pt x="2142" y="1392"/>
                  </a:cubicBezTo>
                  <a:cubicBezTo>
                    <a:pt x="2096" y="1392"/>
                    <a:pt x="2089" y="1438"/>
                    <a:pt x="2056" y="1465"/>
                  </a:cubicBezTo>
                  <a:cubicBezTo>
                    <a:pt x="1997" y="1504"/>
                    <a:pt x="1964" y="1524"/>
                    <a:pt x="1911" y="1577"/>
                  </a:cubicBezTo>
                  <a:cubicBezTo>
                    <a:pt x="1852" y="1623"/>
                    <a:pt x="1819" y="1669"/>
                    <a:pt x="1786" y="1722"/>
                  </a:cubicBezTo>
                  <a:lnTo>
                    <a:pt x="1786" y="1722"/>
                  </a:lnTo>
                  <a:cubicBezTo>
                    <a:pt x="1740" y="1695"/>
                    <a:pt x="1707" y="1682"/>
                    <a:pt x="1661" y="1682"/>
                  </a:cubicBezTo>
                  <a:cubicBezTo>
                    <a:pt x="1628" y="1682"/>
                    <a:pt x="1608" y="1689"/>
                    <a:pt x="1568" y="1682"/>
                  </a:cubicBezTo>
                  <a:cubicBezTo>
                    <a:pt x="1582" y="1663"/>
                    <a:pt x="1582" y="1643"/>
                    <a:pt x="1595" y="1616"/>
                  </a:cubicBezTo>
                  <a:cubicBezTo>
                    <a:pt x="1614" y="1570"/>
                    <a:pt x="1654" y="1550"/>
                    <a:pt x="1654" y="1498"/>
                  </a:cubicBezTo>
                  <a:cubicBezTo>
                    <a:pt x="1654" y="1484"/>
                    <a:pt x="1647" y="1478"/>
                    <a:pt x="1647" y="1465"/>
                  </a:cubicBezTo>
                  <a:cubicBezTo>
                    <a:pt x="1647" y="1419"/>
                    <a:pt x="1647" y="1392"/>
                    <a:pt x="1647" y="1339"/>
                  </a:cubicBezTo>
                  <a:cubicBezTo>
                    <a:pt x="1647" y="1293"/>
                    <a:pt x="1628" y="1247"/>
                    <a:pt x="1582" y="1227"/>
                  </a:cubicBezTo>
                  <a:cubicBezTo>
                    <a:pt x="1542" y="1214"/>
                    <a:pt x="1515" y="1227"/>
                    <a:pt x="1476" y="1207"/>
                  </a:cubicBezTo>
                  <a:cubicBezTo>
                    <a:pt x="1443" y="1201"/>
                    <a:pt x="1430" y="1168"/>
                    <a:pt x="1417" y="1141"/>
                  </a:cubicBezTo>
                  <a:cubicBezTo>
                    <a:pt x="1357" y="1009"/>
                    <a:pt x="1225" y="1003"/>
                    <a:pt x="1172" y="871"/>
                  </a:cubicBezTo>
                  <a:cubicBezTo>
                    <a:pt x="1146" y="805"/>
                    <a:pt x="1113" y="779"/>
                    <a:pt x="1060" y="726"/>
                  </a:cubicBezTo>
                  <a:cubicBezTo>
                    <a:pt x="1041" y="706"/>
                    <a:pt x="1034" y="693"/>
                    <a:pt x="1008" y="686"/>
                  </a:cubicBezTo>
                  <a:cubicBezTo>
                    <a:pt x="961" y="667"/>
                    <a:pt x="928" y="686"/>
                    <a:pt x="882" y="673"/>
                  </a:cubicBezTo>
                  <a:cubicBezTo>
                    <a:pt x="856" y="667"/>
                    <a:pt x="863" y="627"/>
                    <a:pt x="856" y="601"/>
                  </a:cubicBezTo>
                  <a:cubicBezTo>
                    <a:pt x="849" y="574"/>
                    <a:pt x="816" y="574"/>
                    <a:pt x="790" y="568"/>
                  </a:cubicBezTo>
                  <a:cubicBezTo>
                    <a:pt x="724" y="554"/>
                    <a:pt x="684" y="541"/>
                    <a:pt x="618" y="541"/>
                  </a:cubicBezTo>
                  <a:cubicBezTo>
                    <a:pt x="572" y="541"/>
                    <a:pt x="546" y="541"/>
                    <a:pt x="500" y="541"/>
                  </a:cubicBezTo>
                  <a:cubicBezTo>
                    <a:pt x="460" y="541"/>
                    <a:pt x="447" y="489"/>
                    <a:pt x="407" y="489"/>
                  </a:cubicBezTo>
                  <a:cubicBezTo>
                    <a:pt x="361" y="489"/>
                    <a:pt x="342" y="541"/>
                    <a:pt x="295" y="541"/>
                  </a:cubicBezTo>
                  <a:cubicBezTo>
                    <a:pt x="257" y="541"/>
                    <a:pt x="244" y="502"/>
                    <a:pt x="204" y="502"/>
                  </a:cubicBezTo>
                  <a:cubicBezTo>
                    <a:pt x="158" y="502"/>
                    <a:pt x="138" y="528"/>
                    <a:pt x="92" y="528"/>
                  </a:cubicBezTo>
                  <a:cubicBezTo>
                    <a:pt x="59" y="528"/>
                    <a:pt x="32" y="502"/>
                    <a:pt x="0" y="50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4FC6D19-5026-146B-368D-C8E429C39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grpSp>
        <p:nvGrpSpPr>
          <p:cNvPr id="5" name="Gruppieren 96">
            <a:extLst>
              <a:ext uri="{FF2B5EF4-FFF2-40B4-BE49-F238E27FC236}">
                <a16:creationId xmlns:a16="http://schemas.microsoft.com/office/drawing/2014/main" id="{87EACA93-4DB5-A0C0-738A-90CF9CEA881E}"/>
              </a:ext>
            </a:extLst>
          </p:cNvPr>
          <p:cNvGrpSpPr>
            <a:grpSpLocks/>
          </p:cNvGrpSpPr>
          <p:nvPr/>
        </p:nvGrpSpPr>
        <p:grpSpPr>
          <a:xfrm>
            <a:off x="6550493" y="3551325"/>
            <a:ext cx="304976" cy="304976"/>
            <a:chOff x="3476538" y="3554481"/>
            <a:chExt cx="828675" cy="828675"/>
          </a:xfrm>
        </p:grpSpPr>
        <p:sp>
          <p:nvSpPr>
            <p:cNvPr id="6" name="Träne 97">
              <a:extLst>
                <a:ext uri="{FF2B5EF4-FFF2-40B4-BE49-F238E27FC236}">
                  <a16:creationId xmlns:a16="http://schemas.microsoft.com/office/drawing/2014/main" id="{F9911774-2675-FC06-8F93-9D1DC604155F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7" name="Ellipse 98">
              <a:extLst>
                <a:ext uri="{FF2B5EF4-FFF2-40B4-BE49-F238E27FC236}">
                  <a16:creationId xmlns:a16="http://schemas.microsoft.com/office/drawing/2014/main" id="{005EB158-E21C-9252-273C-BF088AA19FD3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8E7BB167-5909-8601-28F7-EA5E50F07D82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400" b="1" dirty="0">
              <a:solidFill>
                <a:srgbClr val="03522D"/>
              </a:solidFill>
              <a:latin typeface="理想品牌字体 2022"/>
              <a:ea typeface="理想品牌字体 2022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b="1" dirty="0">
                <a:solidFill>
                  <a:srgbClr val="03522D"/>
                </a:solidFill>
                <a:latin typeface="理想品牌字体 2022"/>
                <a:ea typeface="理想品牌字体 2022"/>
                <a:sym typeface="Futura"/>
              </a:rPr>
              <a:t>{bullet_2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3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DA0FE3F3-2745-E563-2FB8-5B82BB245EA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ps</a:t>
            </a:r>
          </a:p>
        </p:txBody>
      </p:sp>
    </p:spTree>
    <p:extLst>
      <p:ext uri="{BB962C8B-B14F-4D97-AF65-F5344CB8AC3E}">
        <p14:creationId xmlns:p14="http://schemas.microsoft.com/office/powerpoint/2010/main" val="18187631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</Words>
  <Application>Microsoft Office PowerPoint</Application>
  <PresentationFormat>宽屏</PresentationFormat>
  <Paragraphs>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5:54:41Z</dcterms:created>
  <dcterms:modified xsi:type="dcterms:W3CDTF">2025-09-04T05:55:18Z</dcterms:modified>
</cp:coreProperties>
</file>